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36" r:id="rId4"/>
  </p:sldMasterIdLst>
  <p:notesMasterIdLst>
    <p:notesMasterId r:id="rId39"/>
  </p:notesMasterIdLst>
  <p:handoutMasterIdLst>
    <p:handoutMasterId r:id="rId40"/>
  </p:handoutMasterIdLst>
  <p:sldIdLst>
    <p:sldId id="5990" r:id="rId5"/>
    <p:sldId id="5991" r:id="rId6"/>
    <p:sldId id="6022" r:id="rId7"/>
    <p:sldId id="5993" r:id="rId8"/>
    <p:sldId id="5994" r:id="rId9"/>
    <p:sldId id="5992" r:id="rId10"/>
    <p:sldId id="5995" r:id="rId11"/>
    <p:sldId id="5996" r:id="rId12"/>
    <p:sldId id="5997" r:id="rId13"/>
    <p:sldId id="5998" r:id="rId14"/>
    <p:sldId id="5999" r:id="rId15"/>
    <p:sldId id="6000" r:id="rId16"/>
    <p:sldId id="6001" r:id="rId17"/>
    <p:sldId id="6002" r:id="rId18"/>
    <p:sldId id="6003" r:id="rId19"/>
    <p:sldId id="6004" r:id="rId20"/>
    <p:sldId id="6005" r:id="rId21"/>
    <p:sldId id="6006" r:id="rId22"/>
    <p:sldId id="6007" r:id="rId23"/>
    <p:sldId id="6008" r:id="rId24"/>
    <p:sldId id="6009" r:id="rId25"/>
    <p:sldId id="6010" r:id="rId26"/>
    <p:sldId id="6011" r:id="rId27"/>
    <p:sldId id="6012" r:id="rId28"/>
    <p:sldId id="6013" r:id="rId29"/>
    <p:sldId id="6014" r:id="rId30"/>
    <p:sldId id="6015" r:id="rId31"/>
    <p:sldId id="6016" r:id="rId32"/>
    <p:sldId id="6018" r:id="rId33"/>
    <p:sldId id="6019" r:id="rId34"/>
    <p:sldId id="6017" r:id="rId35"/>
    <p:sldId id="6020" r:id="rId36"/>
    <p:sldId id="6023" r:id="rId37"/>
    <p:sldId id="6021" r:id="rId38"/>
  </p:sldIdLst>
  <p:sldSz cx="12192000" cy="6858000"/>
  <p:notesSz cx="6858000" cy="9144000"/>
  <p:custDataLst>
    <p:tags r:id="rId4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160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335FE3B-7FEE-F9CA-6602-52F2C6A56FDA}" name="Makarova Ekaterina Igorevna" initials="MEI" userId="S::ekatemakarova@ozon.ru::df33a66a-aff7-4495-b141-877bb0962bb2" providerId="AD"/>
  <p188:author id="{5433AA87-8F28-4F76-44FE-E75104D3D962}" name="Ostrovlyanchik Pavel Viktorovich" initials="OPV" userId="S::postrovlyanchik@ozon.ru::5926a54d-3e0c-4345-9bfd-a8b860e1f60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strovlyanchik Pavel Viktorovich" initials="OPV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1A18"/>
    <a:srgbClr val="040038"/>
    <a:srgbClr val="F91155"/>
    <a:srgbClr val="FF497D"/>
    <a:srgbClr val="FCC4B8"/>
    <a:srgbClr val="5A6C7D"/>
    <a:srgbClr val="29AAF9"/>
    <a:srgbClr val="B7EDC9"/>
    <a:srgbClr val="222930"/>
    <a:srgbClr val="002D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14A2982-056F-4F8E-A7C0-7B2B0B0CB698}">
  <a:tblStyle styleId="{914A2982-056F-4F8E-A7C0-7B2B0B0CB698}" styleName="Ozon Light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6350" cmpd="sng">
              <a:solidFill>
                <a:schemeClr val="accent6"/>
              </a:solidFill>
            </a:ln>
          </a:insideH>
          <a:insideV>
            <a:ln w="0" cmpd="sng">
              <a:solidFill>
                <a:schemeClr val="lt1"/>
              </a:solidFill>
            </a:ln>
          </a:insideV>
        </a:tcBdr>
        <a:fill>
          <a:solidFill>
            <a:schemeClr val="lt1">
              <a:alpha val="0"/>
            </a:schemeClr>
          </a:solidFill>
        </a:fill>
      </a:tcStyle>
    </a:wholeTbl>
    <a:band1H>
      <a:tcStyle>
        <a:tcBdr/>
        <a:fill>
          <a:solidFill>
            <a:schemeClr val="accent6">
              <a:alpha val="0"/>
            </a:schemeClr>
          </a:solidFill>
        </a:fill>
      </a:tcStyle>
    </a:band1H>
    <a:band2H>
      <a:tcStyle>
        <a:tcBdr/>
        <a:fill>
          <a:solidFill>
            <a:schemeClr val="accent6">
              <a:alpha val="20000"/>
            </a:schemeClr>
          </a:solidFill>
        </a:fill>
      </a:tcStyle>
    </a:band2H>
    <a:band1V>
      <a:tcStyle>
        <a:tcBdr/>
        <a:fill>
          <a:solidFill>
            <a:schemeClr val="accent6">
              <a:alpha val="0"/>
            </a:schemeClr>
          </a:solidFill>
        </a:fill>
      </a:tcStyle>
    </a:band1V>
    <a:band2V>
      <a:tcStyle>
        <a:tcBdr/>
        <a:fill>
          <a:solidFill>
            <a:schemeClr val="accent6">
              <a:alpha val="20000"/>
            </a:schemeClr>
          </a:solidFill>
        </a:fill>
      </a:tcStyle>
    </a:band2V>
    <a:lastCol>
      <a:tcTxStyle b="on">
        <a:fontRef idx="minor">
          <a:prstClr val="black"/>
        </a:fontRef>
        <a:schemeClr val="dk1"/>
      </a:tcTxStyle>
      <a:tcStyle>
        <a:tcBdr/>
        <a:fill>
          <a:solidFill>
            <a:schemeClr val="accent6">
              <a:alpha val="40000"/>
            </a:schemeClr>
          </a:solidFill>
        </a:fill>
      </a:tcStyle>
    </a:lastCol>
    <a:firstCol>
      <a:tcTxStyle b="on">
        <a:fontRef idx="minor">
          <a:prstClr val="black"/>
        </a:fontRef>
        <a:schemeClr val="dk1"/>
      </a:tcTxStyle>
      <a:tcStyle>
        <a:tcBdr/>
        <a:fill>
          <a:solidFill>
            <a:schemeClr val="accent6">
              <a:alpha val="40000"/>
            </a:schemeClr>
          </a:solidFill>
        </a:fill>
      </a:tcStyle>
    </a:firstCol>
    <a:lastRow>
      <a:tcTxStyle b="on">
        <a:fontRef idx="minor">
          <a:prstClr val="black"/>
        </a:fontRef>
        <a:schemeClr val="dk1"/>
      </a:tcTxStyle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solidFill>
            <a:schemeClr val="accent6">
              <a:alpha val="60000"/>
            </a:schemeClr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0" cmpd="sng">
              <a:solidFill>
                <a:schemeClr val="accent6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8467CCE-9AFA-45B7-9190-6F7425A13B29}" styleName="Ozon Dark">
    <a:wholeTbl>
      <a:tcTxStyle>
        <a:fontRef idx="minor">
          <a:prstClr val="black"/>
        </a:fontRef>
        <a:schemeClr val="lt2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12700" cmpd="sng">
              <a:solidFill>
                <a:schemeClr val="accent6">
                  <a:alpha val="40000"/>
                </a:schemeClr>
              </a:solidFill>
            </a:ln>
          </a:top>
          <a:bottom>
            <a:ln w="12700" cmpd="sng">
              <a:solidFill>
                <a:schemeClr val="accent6">
                  <a:alpha val="40000"/>
                </a:schemeClr>
              </a:solidFill>
            </a:ln>
          </a:bottom>
          <a:insideH>
            <a:ln w="6350" cmpd="sng">
              <a:solidFill>
                <a:schemeClr val="accent6">
                  <a:alpha val="40000"/>
                </a:schemeClr>
              </a:solidFill>
            </a:ln>
          </a:insideH>
          <a:insideV>
            <a:ln w="0" cmpd="sng">
              <a:solidFill>
                <a:schemeClr val="lt1"/>
              </a:solidFill>
            </a:ln>
          </a:insideV>
        </a:tcBdr>
        <a:fill>
          <a:solidFill>
            <a:schemeClr val="lt1">
              <a:alpha val="0"/>
            </a:schemeClr>
          </a:solidFill>
        </a:fill>
      </a:tcStyle>
    </a:wholeTbl>
    <a:band1H>
      <a:tcStyle>
        <a:tcBdr/>
        <a:fill>
          <a:solidFill>
            <a:schemeClr val="accent6">
              <a:alpha val="0"/>
            </a:schemeClr>
          </a:solidFill>
        </a:fill>
      </a:tcStyle>
    </a:band1H>
    <a:band2H>
      <a:tcStyle>
        <a:tcBdr/>
        <a:fill>
          <a:solidFill>
            <a:schemeClr val="accent6">
              <a:alpha val="10000"/>
            </a:schemeClr>
          </a:solidFill>
        </a:fill>
      </a:tcStyle>
    </a:band2H>
    <a:band1V>
      <a:tcStyle>
        <a:tcBdr/>
        <a:fill>
          <a:solidFill>
            <a:schemeClr val="accent6">
              <a:alpha val="0"/>
            </a:schemeClr>
          </a:solidFill>
        </a:fill>
      </a:tcStyle>
    </a:band1V>
    <a:band2V>
      <a:tcStyle>
        <a:tcBdr/>
        <a:fill>
          <a:solidFill>
            <a:schemeClr val="accent6">
              <a:alpha val="10000"/>
            </a:schemeClr>
          </a:solidFill>
        </a:fill>
      </a:tcStyle>
    </a:band2V>
    <a:lastCol>
      <a:tcTxStyle b="on">
        <a:fontRef idx="minor">
          <a:prstClr val="white"/>
        </a:fontRef>
        <a:schemeClr val="lt2"/>
      </a:tcTxStyle>
      <a:tcStyle>
        <a:tcBdr/>
        <a:fill>
          <a:solidFill>
            <a:schemeClr val="accent6">
              <a:alpha val="20000"/>
            </a:schemeClr>
          </a:solidFill>
        </a:fill>
      </a:tcStyle>
    </a:lastCol>
    <a:firstCol>
      <a:tcTxStyle b="on">
        <a:fontRef idx="minor">
          <a:prstClr val="white"/>
        </a:fontRef>
        <a:schemeClr val="lt2"/>
      </a:tcTxStyle>
      <a:tcStyle>
        <a:tcBdr/>
        <a:fill>
          <a:solidFill>
            <a:schemeClr val="accent6">
              <a:alpha val="20000"/>
            </a:schemeClr>
          </a:solidFill>
        </a:fill>
      </a:tcStyle>
    </a:firstCol>
    <a:lastRow>
      <a:tcTxStyle b="on">
        <a:fontRef idx="minor">
          <a:prstClr val="white"/>
        </a:fontRef>
        <a:schemeClr val="lt2"/>
      </a:tcTxStyle>
      <a:tcStyle>
        <a:tcBdr>
          <a:top>
            <a:ln w="12700" cmpd="sng">
              <a:solidFill>
                <a:schemeClr val="accent6">
                  <a:alpha val="50000"/>
                </a:schemeClr>
              </a:solidFill>
            </a:ln>
          </a:top>
        </a:tcBdr>
        <a:fill>
          <a:solidFill>
            <a:schemeClr val="accent6">
              <a:alpha val="30000"/>
            </a:schemeClr>
          </a:solidFill>
        </a:fill>
      </a:tcStyle>
    </a:lastRow>
    <a:firstRow>
      <a:tcTxStyle b="on">
        <a:fontRef idx="minor">
          <a:prstClr val="white"/>
        </a:fontRef>
        <a:schemeClr val="lt2"/>
      </a:tcTxStyle>
      <a:tcStyle>
        <a:tcBdr>
          <a:bottom>
            <a:ln w="0" cmpd="sng">
              <a:solidFill>
                <a:schemeClr val="accent6">
                  <a:alpha val="35000"/>
                </a:schemeClr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439"/>
    <p:restoredTop sz="94564"/>
  </p:normalViewPr>
  <p:slideViewPr>
    <p:cSldViewPr snapToGrid="0">
      <p:cViewPr varScale="1">
        <p:scale>
          <a:sx n="70" d="100"/>
          <a:sy n="70" d="100"/>
        </p:scale>
        <p:origin x="968" y="52"/>
      </p:cViewPr>
      <p:guideLst>
        <p:guide orient="horz" pos="2160"/>
        <p:guide pos="3840"/>
      </p:guideLst>
    </p:cSldViewPr>
  </p:slideViewPr>
  <p:notesTextViewPr>
    <p:cViewPr>
      <p:scale>
        <a:sx n="70" d="100"/>
        <a:sy n="70" d="100"/>
      </p:scale>
      <p:origin x="0" y="0"/>
    </p:cViewPr>
  </p:notesTextViewPr>
  <p:sorterViewPr>
    <p:cViewPr>
      <p:scale>
        <a:sx n="50" d="100"/>
        <a:sy n="50" d="100"/>
      </p:scale>
      <p:origin x="0" y="-40942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commentAuthors" Target="commentAuthors.xml"/><Relationship Id="rId47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handoutMaster" Target="handoutMasters/handoutMaster1.xml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9367C0CF-F4C0-95C7-86F3-9E8EE404102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>
              <a:latin typeface="Arial" panose="020B0604020202020204" pitchFamily="34" charset="0"/>
            </a:endParaRP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3DA1C796-539B-2804-7940-1270DC3BEFC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D7F4CF-5328-4739-960D-CA90DC7CEF08}" type="datetimeFigureOut">
              <a:rPr lang="ru-RU" smtClean="0">
                <a:latin typeface="Arial" panose="020B0604020202020204" pitchFamily="34" charset="0"/>
              </a:rPr>
              <a:t>04.03.2025</a:t>
            </a:fld>
            <a:endParaRPr lang="ru-RU">
              <a:latin typeface="Arial" panose="020B0604020202020204" pitchFamily="34" charset="0"/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3D4BBA8E-A71A-EF67-F4DE-6F8E4DB0542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>
              <a:latin typeface="Arial" panose="020B0604020202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276695C-9635-EDED-B81C-5F145B6A0AD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0B1485-3AA0-4E52-A81C-B7871651468E}" type="slidenum">
              <a:rPr lang="ru-RU" smtClean="0">
                <a:latin typeface="Arial" panose="020B0604020202020204" pitchFamily="34" charset="0"/>
              </a:rPr>
              <a:t>‹#›</a:t>
            </a:fld>
            <a:endParaRPr lang="ru-RU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007827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974A28E2-8F42-4A3C-8147-E3FFF422B139}" type="datetimeFigureOut">
              <a:rPr lang="ru-RU" smtClean="0"/>
              <a:pPr/>
              <a:t>04.03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650C9ADD-5F9E-49DE-A1DB-0FC1C68088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8851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2689FB-C8FC-BA16-C614-0C3FA7D610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1308614B-9A75-5791-0D24-EAD23E44289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B984390A-F42E-FD18-6357-1A524240D2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C36B171-397F-6D46-6769-CBCD50A7D9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C9ADD-5F9E-49DE-A1DB-0FC1C68088B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75423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D2CBB2-71B1-96F5-E1B5-84CF5BB2EA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E65E87AF-B441-512C-EE9C-76F1B69E56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6B726542-24D0-6831-DB0D-DA09700F36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153F2CC-BF68-7BA1-FDCE-B9D6941CC73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C9ADD-5F9E-49DE-A1DB-0FC1C68088B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6987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oleObject" Target="../embeddings/oleObject2.bin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oleObject" Target="../embeddings/oleObject2.bin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4670823B-F74E-8791-1532-CF98E8BECBE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549398" y="883609"/>
            <a:ext cx="2131200" cy="473348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10" name="Полилиния 9">
              <a:extLst>
                <a:ext uri="{FF2B5EF4-FFF2-40B4-BE49-F238E27FC236}">
                  <a16:creationId xmlns:a16="http://schemas.microsoft.com/office/drawing/2014/main" id="{5B2F7226-4181-51B3-0BF7-C4B60DE629FE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solidFill>
              <a:schemeClr val="accent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6" name="Полилиния 15">
              <a:extLst>
                <a:ext uri="{FF2B5EF4-FFF2-40B4-BE49-F238E27FC236}">
                  <a16:creationId xmlns:a16="http://schemas.microsoft.com/office/drawing/2014/main" id="{03433882-C03B-C000-C623-A6053301C5C7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solidFill>
              <a:schemeClr val="tx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4705255"/>
            <a:ext cx="8174332" cy="81756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Напиши подзаголовок презентации, имя спикера </a:t>
            </a:r>
            <a:br>
              <a:rPr lang="ru-RU" dirty="0"/>
            </a:br>
            <a:r>
              <a:rPr lang="ru-RU" dirty="0"/>
              <a:t>и другую дополнительную информацию</a:t>
            </a: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5AD7914A-6F7A-0AB4-0320-8B0610322A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5AD7914A-6F7A-0AB4-0320-8B0610322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15B33EE8-2A0C-A289-E633-0C1A78BC22F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15B33EE8-2A0C-A289-E633-0C1A78BC22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EDB5745A-EB00-381B-6668-493769E30B62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EDB5745A-EB00-381B-6668-493769E30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1A29F7CF-5EA7-385D-A6B8-3F74846ECFA0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1A29F7CF-5EA7-385D-A6B8-3F74846EC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69EB17E6-0D76-E72E-817B-D0C2F75924C4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id="{69EB17E6-0D76-E72E-817B-D0C2F7592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E0D4A2C-56C5-17DB-0E5E-7516F66FD0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6718" y="2152745"/>
            <a:ext cx="8206245" cy="2277549"/>
          </a:xfrm>
        </p:spPr>
        <p:txBody>
          <a:bodyPr vert="horz" anchor="b">
            <a:noAutofit/>
          </a:bodyPr>
          <a:lstStyle>
            <a:lvl1pPr algn="l">
              <a:lnSpc>
                <a:spcPct val="90000"/>
              </a:lnSpc>
              <a:defRPr sz="4800" spc="-5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Напиши смысловой заголовок презентации </a:t>
            </a:r>
            <a:br>
              <a:rPr lang="ru-RU" dirty="0"/>
            </a:br>
            <a:r>
              <a:rPr lang="ru-RU" dirty="0"/>
              <a:t>в 2–3 строки</a:t>
            </a:r>
          </a:p>
        </p:txBody>
      </p: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1D77E8B5-7B50-6479-7248-130A739ECA38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1D77E8B5-7B50-6479-7248-130A739ECA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4E5DA3C2-0A7F-674E-A5B0-30B7E3A95F0E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4E5DA3C2-0A7F-674E-A5B0-30B7E3A95F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6F240980-E205-E34B-560B-418ADE4D2190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1" name="Объект 10" hidden="1">
                        <a:extLst>
                          <a:ext uri="{FF2B5EF4-FFF2-40B4-BE49-F238E27FC236}">
                            <a16:creationId xmlns:a16="http://schemas.microsoft.com/office/drawing/2014/main" id="{6F240980-E205-E34B-560B-418ADE4D21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Объект 12" hidden="1">
            <a:extLst>
              <a:ext uri="{FF2B5EF4-FFF2-40B4-BE49-F238E27FC236}">
                <a16:creationId xmlns:a16="http://schemas.microsoft.com/office/drawing/2014/main" id="{AE319448-558B-6C3F-A87B-6F88A75AA87B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3" name="Объект 12" hidden="1">
                        <a:extLst>
                          <a:ext uri="{FF2B5EF4-FFF2-40B4-BE49-F238E27FC236}">
                            <a16:creationId xmlns:a16="http://schemas.microsoft.com/office/drawing/2014/main" id="{AE319448-558B-6C3F-A87B-6F88A75AA8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4AA46163-C0B9-4B45-7146-A7012B609A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4" name="Объект 13" hidden="1">
                        <a:extLst>
                          <a:ext uri="{FF2B5EF4-FFF2-40B4-BE49-F238E27FC236}">
                            <a16:creationId xmlns:a16="http://schemas.microsoft.com/office/drawing/2014/main" id="{4AA46163-C0B9-4B45-7146-A7012B609A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65084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ACBFDDBA-C89E-74A9-2B9B-09F01BBBFF6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5" name="Полилиния 4">
              <a:extLst>
                <a:ext uri="{FF2B5EF4-FFF2-40B4-BE49-F238E27FC236}">
                  <a16:creationId xmlns:a16="http://schemas.microsoft.com/office/drawing/2014/main" id="{B3BBE626-21CF-2C0F-49DC-7B9189E1351C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1CF7CFB8-8200-382F-7DBB-29C09AF7AE1B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E7388FD-D149-4D25-0D53-8FD572183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7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</a:t>
            </a:r>
            <a:br>
              <a:rPr lang="ru-RU"/>
            </a:br>
            <a:r>
              <a:rPr lang="ru-RU"/>
              <a:t>слайда в 1–2 строки</a:t>
            </a:r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7993614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F67C59A3-D429-7B31-A5B0-0D1EFC446FA3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26561D24-BBBB-253A-7A51-A96C57F40E5B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A2B8DFB7-79B0-0439-C360-6941BF32E4D7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9298A01-26D5-77F0-1B44-28C8BBA32B5A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21EA26B0-23BA-7A00-892D-A1F326878E52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A5D3FC7E-9D3D-EB60-5F4A-AB0976EFEC60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E6DA982A-4819-86A4-B3E3-3820BE19C0E0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5" name="Прямоугольник: скругленные углы 44">
              <a:extLst>
                <a:ext uri="{FF2B5EF4-FFF2-40B4-BE49-F238E27FC236}">
                  <a16:creationId xmlns:a16="http://schemas.microsoft.com/office/drawing/2014/main" id="{682E6276-38E4-B43E-1997-1EB72EA2A914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068336B-339F-1776-3C0F-78C717AA59C8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8" name="Прямоугольник: скругленные углы 47">
              <a:extLst>
                <a:ext uri="{FF2B5EF4-FFF2-40B4-BE49-F238E27FC236}">
                  <a16:creationId xmlns:a16="http://schemas.microsoft.com/office/drawing/2014/main" id="{FE2D34FD-CFD5-F181-5F8D-99FE8F6B9336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48ABCE10-7A7F-1324-4D1D-7AD10D1042B1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FA92F67-A433-8731-5914-B14989A94311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52" name="Прямоугольник: скругленные углы 51">
              <a:extLst>
                <a:ext uri="{FF2B5EF4-FFF2-40B4-BE49-F238E27FC236}">
                  <a16:creationId xmlns:a16="http://schemas.microsoft.com/office/drawing/2014/main" id="{4C7A1397-7A11-591D-AA68-55A9039699E9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504D71D0-6847-ADE8-467F-77206D5DE761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AB17545C-2653-11B9-6AAD-F2414CA88813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1D454EF4-1099-5940-A5D4-5F82D3172AE1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AB6D7EE-DAF5-E7EF-6D1E-0891469BD32B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64568EE7-F81D-84C3-5AE6-8B77C2134C94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0BC0B63B-AFDA-54FE-3829-EC8AA6CFBAEB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2FE7B29-A123-EF1E-09DB-12AADC874FA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60" name="Рисунок 93">
              <a:extLst>
                <a:ext uri="{FF2B5EF4-FFF2-40B4-BE49-F238E27FC236}">
                  <a16:creationId xmlns:a16="http://schemas.microsoft.com/office/drawing/2014/main" id="{AA53B632-DD94-4453-746B-3AC3CCA27D0B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DE6F264-2180-A77B-E487-478DC7F970C2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2B9BFCAF-86CA-1244-E85A-F30E4AC766F2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64">
              <a:extLst>
                <a:ext uri="{FF2B5EF4-FFF2-40B4-BE49-F238E27FC236}">
                  <a16:creationId xmlns:a16="http://schemas.microsoft.com/office/drawing/2014/main" id="{860A63BB-781E-AEA8-4E5D-D35214A49880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65">
              <a:extLst>
                <a:ext uri="{FF2B5EF4-FFF2-40B4-BE49-F238E27FC236}">
                  <a16:creationId xmlns:a16="http://schemas.microsoft.com/office/drawing/2014/main" id="{09CABE96-EC03-3157-B363-C0896B3891CC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рямоугольник: скругленные углы 13">
              <a:extLst>
                <a:ext uri="{FF2B5EF4-FFF2-40B4-BE49-F238E27FC236}">
                  <a16:creationId xmlns:a16="http://schemas.microsoft.com/office/drawing/2014/main" id="{10235599-9C22-810F-AFFE-43B3719F8049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BCCB48D8-60A8-9E17-D2F8-C11A8EA8C284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0" name="Прямоугольник: скругленные углы 48">
              <a:extLst>
                <a:ext uri="{FF2B5EF4-FFF2-40B4-BE49-F238E27FC236}">
                  <a16:creationId xmlns:a16="http://schemas.microsoft.com/office/drawing/2014/main" id="{5FE503CD-B1B5-1547-AFB0-C04820859122}"/>
                </a:ext>
              </a:extLst>
            </p:cNvPr>
            <p:cNvSpPr/>
            <p:nvPr userDrawn="1"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1" name="Прямоугольник: скругленные углы 56">
              <a:extLst>
                <a:ext uri="{FF2B5EF4-FFF2-40B4-BE49-F238E27FC236}">
                  <a16:creationId xmlns:a16="http://schemas.microsoft.com/office/drawing/2014/main" id="{9ED3D159-6E3E-E74B-B704-06E7EF66176B}"/>
                </a:ext>
              </a:extLst>
            </p:cNvPr>
            <p:cNvSpPr/>
            <p:nvPr userDrawn="1"/>
          </p:nvSpPr>
          <p:spPr>
            <a:xfrm>
              <a:off x="-9461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7" name="Нижний колонтитул 4">
            <a:extLst>
              <a:ext uri="{FF2B5EF4-FFF2-40B4-BE49-F238E27FC236}">
                <a16:creationId xmlns:a16="http://schemas.microsoft.com/office/drawing/2014/main" id="{10253803-6842-474F-8345-1128330D55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1201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Заголовок 1">
            <a:extLst>
              <a:ext uri="{FF2B5EF4-FFF2-40B4-BE49-F238E27FC236}">
                <a16:creationId xmlns:a16="http://schemas.microsoft.com/office/drawing/2014/main" id="{64D5D928-54C7-0515-241F-75818620F1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4"/>
            <a:ext cx="10910888" cy="3588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слайда в 1 строку</a:t>
            </a:r>
          </a:p>
        </p:txBody>
      </p:sp>
      <p:sp>
        <p:nvSpPr>
          <p:cNvPr id="36" name="Текст 10">
            <a:extLst>
              <a:ext uri="{FF2B5EF4-FFF2-40B4-BE49-F238E27FC236}">
                <a16:creationId xmlns:a16="http://schemas.microsoft.com/office/drawing/2014/main" id="{214F87F9-9F23-A982-C724-BD3B326E88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763" y="833072"/>
            <a:ext cx="10926762" cy="358858"/>
          </a:xfrm>
        </p:spPr>
        <p:txBody>
          <a:bodyPr/>
          <a:lstStyle>
            <a:lvl1pPr>
              <a:lnSpc>
                <a:spcPct val="90000"/>
              </a:lnSpc>
              <a:defRPr sz="18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ru-RU" dirty="0"/>
              <a:t>Сформулируй подзаголовок в 1–2 строки</a:t>
            </a:r>
          </a:p>
        </p:txBody>
      </p:sp>
      <p:sp>
        <p:nvSpPr>
          <p:cNvPr id="37" name="Прямоугольник: скругленные углы 36">
            <a:extLst>
              <a:ext uri="{FF2B5EF4-FFF2-40B4-BE49-F238E27FC236}">
                <a16:creationId xmlns:a16="http://schemas.microsoft.com/office/drawing/2014/main" id="{FA396019-081A-9B04-222C-8B96235EC847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: скругленные верхние углы 37">
            <a:extLst>
              <a:ext uri="{FF2B5EF4-FFF2-40B4-BE49-F238E27FC236}">
                <a16:creationId xmlns:a16="http://schemas.microsoft.com/office/drawing/2014/main" id="{CC120812-6660-E8D7-71B4-58E1CA35329D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9" name="Таблица 46">
            <a:extLst>
              <a:ext uri="{FF2B5EF4-FFF2-40B4-BE49-F238E27FC236}">
                <a16:creationId xmlns:a16="http://schemas.microsoft.com/office/drawing/2014/main" id="{C214627B-A561-23DE-11FC-3859ACF3095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503260718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40" name="Полилиния: фигура 39">
            <a:extLst>
              <a:ext uri="{FF2B5EF4-FFF2-40B4-BE49-F238E27FC236}">
                <a16:creationId xmlns:a16="http://schemas.microsoft.com/office/drawing/2014/main" id="{D1137D18-51FF-7720-A2D7-B37EEEBBCC0C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930174-278D-1164-093F-8AF71562C0CA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2" name="Нижний колонтитул 4">
            <a:extLst>
              <a:ext uri="{FF2B5EF4-FFF2-40B4-BE49-F238E27FC236}">
                <a16:creationId xmlns:a16="http://schemas.microsoft.com/office/drawing/2014/main" id="{0606E0FB-6379-DF40-BFFA-E43FBE816E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ACADBB40-3E4B-BA47-9B0D-41DC98B980C0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69" name="Прямоугольник: скругленные углы 38">
              <a:extLst>
                <a:ext uri="{FF2B5EF4-FFF2-40B4-BE49-F238E27FC236}">
                  <a16:creationId xmlns:a16="http://schemas.microsoft.com/office/drawing/2014/main" id="{8BC913CB-3DD4-6A44-AFB9-84356EBADC1D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959C18BF-1BE5-B543-B223-77C360ED66CF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E441BCCA-D30C-A945-86F3-9E84282D3446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72" name="Прямоугольник: скругленные углы 41">
              <a:extLst>
                <a:ext uri="{FF2B5EF4-FFF2-40B4-BE49-F238E27FC236}">
                  <a16:creationId xmlns:a16="http://schemas.microsoft.com/office/drawing/2014/main" id="{A5F56424-48C0-5B42-BA81-1D94ADB9088F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3" name="Прямоугольник: скругленные углы 42">
              <a:extLst>
                <a:ext uri="{FF2B5EF4-FFF2-40B4-BE49-F238E27FC236}">
                  <a16:creationId xmlns:a16="http://schemas.microsoft.com/office/drawing/2014/main" id="{70F71935-B459-1946-9685-15173A969D4A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4" name="Прямоугольник: скругленные углы 43">
              <a:extLst>
                <a:ext uri="{FF2B5EF4-FFF2-40B4-BE49-F238E27FC236}">
                  <a16:creationId xmlns:a16="http://schemas.microsoft.com/office/drawing/2014/main" id="{C5493070-C997-C047-80CE-050317916ABA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Прямоугольник: скругленные углы 44">
              <a:extLst>
                <a:ext uri="{FF2B5EF4-FFF2-40B4-BE49-F238E27FC236}">
                  <a16:creationId xmlns:a16="http://schemas.microsoft.com/office/drawing/2014/main" id="{C43704EF-B1FF-3D4A-813F-5FBBE4E46F92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0E593829-69B5-2D4F-A75A-7EE68F1B6D9C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77" name="Прямоугольник: скругленные углы 47">
              <a:extLst>
                <a:ext uri="{FF2B5EF4-FFF2-40B4-BE49-F238E27FC236}">
                  <a16:creationId xmlns:a16="http://schemas.microsoft.com/office/drawing/2014/main" id="{5A13E7D2-9C0E-0146-9C13-DFE574B08A4F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" name="Прямоугольник: скругленные углы 48">
              <a:extLst>
                <a:ext uri="{FF2B5EF4-FFF2-40B4-BE49-F238E27FC236}">
                  <a16:creationId xmlns:a16="http://schemas.microsoft.com/office/drawing/2014/main" id="{2605BB73-98F0-4E4F-BA15-B73E1C7A4F15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E6D455FB-98B4-1943-9E57-DC98726499D0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80" name="Прямоугольник: скругленные углы 51">
              <a:extLst>
                <a:ext uri="{FF2B5EF4-FFF2-40B4-BE49-F238E27FC236}">
                  <a16:creationId xmlns:a16="http://schemas.microsoft.com/office/drawing/2014/main" id="{E8B82740-32DB-6B42-AAC7-B0E2AAFF5F3D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: скругленные углы 52">
              <a:extLst>
                <a:ext uri="{FF2B5EF4-FFF2-40B4-BE49-F238E27FC236}">
                  <a16:creationId xmlns:a16="http://schemas.microsoft.com/office/drawing/2014/main" id="{EA00E76B-5416-404F-8C59-4CC70D0DC2F6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2" name="Прямоугольник: скругленные углы 53">
              <a:extLst>
                <a:ext uri="{FF2B5EF4-FFF2-40B4-BE49-F238E27FC236}">
                  <a16:creationId xmlns:a16="http://schemas.microsoft.com/office/drawing/2014/main" id="{0E253E06-7EF5-134D-9807-EBFB775B3E5D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3" name="Прямоугольник: скругленные углы 54">
              <a:extLst>
                <a:ext uri="{FF2B5EF4-FFF2-40B4-BE49-F238E27FC236}">
                  <a16:creationId xmlns:a16="http://schemas.microsoft.com/office/drawing/2014/main" id="{36B61546-BF20-4F4D-8E37-3811D6FDF671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84D064FF-E925-AE4A-BEAA-1761FDD715A2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85" name="Прямоугольник: скругленные углы 56">
              <a:extLst>
                <a:ext uri="{FF2B5EF4-FFF2-40B4-BE49-F238E27FC236}">
                  <a16:creationId xmlns:a16="http://schemas.microsoft.com/office/drawing/2014/main" id="{E0A73B6F-0CBC-6842-A110-CBFCE8627015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Прямоугольник: скругленные углы 57">
              <a:extLst>
                <a:ext uri="{FF2B5EF4-FFF2-40B4-BE49-F238E27FC236}">
                  <a16:creationId xmlns:a16="http://schemas.microsoft.com/office/drawing/2014/main" id="{8D238242-34B2-B64B-81AD-1EBEBF99A4BA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CF74BAEA-2AEF-7C41-94C9-169D29CA399D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88" name="Рисунок 93">
              <a:extLst>
                <a:ext uri="{FF2B5EF4-FFF2-40B4-BE49-F238E27FC236}">
                  <a16:creationId xmlns:a16="http://schemas.microsoft.com/office/drawing/2014/main" id="{C290659D-DA99-334D-BD57-993A461E8927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B0C66573-3B37-4845-90F6-8CD386C60B6D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90" name="Прямоугольник: скругленные углы 63">
              <a:extLst>
                <a:ext uri="{FF2B5EF4-FFF2-40B4-BE49-F238E27FC236}">
                  <a16:creationId xmlns:a16="http://schemas.microsoft.com/office/drawing/2014/main" id="{06B304CA-7385-5E48-BC6F-F8A2B2EECC7F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1" name="Прямоугольник: скругленные углы 64">
              <a:extLst>
                <a:ext uri="{FF2B5EF4-FFF2-40B4-BE49-F238E27FC236}">
                  <a16:creationId xmlns:a16="http://schemas.microsoft.com/office/drawing/2014/main" id="{BE79CDF9-7231-A742-89E9-AAEBBEFE7456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2" name="Прямоугольник: скругленные углы 65">
              <a:extLst>
                <a:ext uri="{FF2B5EF4-FFF2-40B4-BE49-F238E27FC236}">
                  <a16:creationId xmlns:a16="http://schemas.microsoft.com/office/drawing/2014/main" id="{148714E1-E061-5F45-84D2-86B3E090DF5E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3" name="Прямоугольник: скругленные углы 13">
              <a:extLst>
                <a:ext uri="{FF2B5EF4-FFF2-40B4-BE49-F238E27FC236}">
                  <a16:creationId xmlns:a16="http://schemas.microsoft.com/office/drawing/2014/main" id="{9FD99921-05BF-0B43-AD43-D32FE1EFC486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4" name="Прямоугольник: скругленные углы 15">
              <a:extLst>
                <a:ext uri="{FF2B5EF4-FFF2-40B4-BE49-F238E27FC236}">
                  <a16:creationId xmlns:a16="http://schemas.microsoft.com/office/drawing/2014/main" id="{C9FD0A14-14F7-2848-A940-C7DB4D7395C4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5" name="Прямоугольник: скругленные углы 48">
              <a:extLst>
                <a:ext uri="{FF2B5EF4-FFF2-40B4-BE49-F238E27FC236}">
                  <a16:creationId xmlns:a16="http://schemas.microsoft.com/office/drawing/2014/main" id="{10D382DA-8A1C-FD4B-9E8E-7507A62EA83E}"/>
                </a:ext>
              </a:extLst>
            </p:cNvPr>
            <p:cNvSpPr/>
            <p:nvPr userDrawn="1"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6" name="Прямоугольник: скругленные углы 56">
              <a:extLst>
                <a:ext uri="{FF2B5EF4-FFF2-40B4-BE49-F238E27FC236}">
                  <a16:creationId xmlns:a16="http://schemas.microsoft.com/office/drawing/2014/main" id="{061FB20C-E3FF-6947-9EBD-3D54E77ADDB0}"/>
                </a:ext>
              </a:extLst>
            </p:cNvPr>
            <p:cNvSpPr/>
            <p:nvPr userDrawn="1"/>
          </p:nvSpPr>
          <p:spPr>
            <a:xfrm>
              <a:off x="-9461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609ED99E-52AF-4EF8-B4B8-BC13E3490FE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3" name="Полилиния 2">
              <a:extLst>
                <a:ext uri="{FF2B5EF4-FFF2-40B4-BE49-F238E27FC236}">
                  <a16:creationId xmlns:a16="http://schemas.microsoft.com/office/drawing/2014/main" id="{0F9E2296-4D36-2B24-AFB3-DEB0C6DBAEE9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5" name="Полилиния 4">
              <a:extLst>
                <a:ext uri="{FF2B5EF4-FFF2-40B4-BE49-F238E27FC236}">
                  <a16:creationId xmlns:a16="http://schemas.microsoft.com/office/drawing/2014/main" id="{FDBF0ACD-C4F6-CDE4-3EFC-88654A3234A5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782119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_titl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606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4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99" y="420493"/>
            <a:ext cx="10910888" cy="783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2000"/>
              </a:lnSpc>
              <a:defRPr sz="4400" spc="-30" baseline="0">
                <a:solidFill>
                  <a:schemeClr val="bg2"/>
                </a:solidFill>
              </a:defRPr>
            </a:lvl1pPr>
          </a:lstStyle>
          <a:p>
            <a:r>
              <a:rPr lang="ru-RU"/>
              <a:t>Заголовок слайда в 1 строку</a:t>
            </a:r>
          </a:p>
        </p:txBody>
      </p: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9FD9122D-7091-6BA2-07EA-163A1869AEA8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: скругленные верхние углы 8">
            <a:extLst>
              <a:ext uri="{FF2B5EF4-FFF2-40B4-BE49-F238E27FC236}">
                <a16:creationId xmlns:a16="http://schemas.microsoft.com/office/drawing/2014/main" id="{6D6F03CD-D114-F37B-E03D-2CA35E1A3592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10" name="Таблица 46">
            <a:extLst>
              <a:ext uri="{FF2B5EF4-FFF2-40B4-BE49-F238E27FC236}">
                <a16:creationId xmlns:a16="http://schemas.microsoft.com/office/drawing/2014/main" id="{B02E023D-DDB5-0937-D525-4B70C7E155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4895827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5</a:t>
                      </a:r>
                      <a:r>
                        <a:rPr lang="ru-RU" sz="1200" b="1"/>
                        <a:t>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44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</a:t>
                      </a:r>
                      <a:r>
                        <a:rPr lang="en-US" sz="1200" b="1"/>
                        <a:t>8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8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4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2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2836D397-07DF-F44E-B241-E646372182BD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DB4C809-1195-88CA-2A75-08AA1F1CFF03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19" name="Номер слайда 5">
            <a:extLst>
              <a:ext uri="{FF2B5EF4-FFF2-40B4-BE49-F238E27FC236}">
                <a16:creationId xmlns:a16="http://schemas.microsoft.com/office/drawing/2014/main" id="{A29A8329-61B1-1D0C-F101-E5C427CD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6" name="Нижний колонтитул 4">
            <a:extLst>
              <a:ext uri="{FF2B5EF4-FFF2-40B4-BE49-F238E27FC236}">
                <a16:creationId xmlns:a16="http://schemas.microsoft.com/office/drawing/2014/main" id="{0FBE122B-6F03-F449-8A51-EF2384093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CD40B8D3-24E8-264C-85C0-FC1434D6EDE9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53" name="Прямоугольник: скругленные углы 38">
              <a:extLst>
                <a:ext uri="{FF2B5EF4-FFF2-40B4-BE49-F238E27FC236}">
                  <a16:creationId xmlns:a16="http://schemas.microsoft.com/office/drawing/2014/main" id="{87DFEA87-531E-F74C-92A0-F41FB656855E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A08C3FFE-FABF-CE44-AE09-62ED5723B84D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31636D6C-9228-D347-AA6A-62840DC50B9C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56" name="Прямоугольник: скругленные углы 41">
              <a:extLst>
                <a:ext uri="{FF2B5EF4-FFF2-40B4-BE49-F238E27FC236}">
                  <a16:creationId xmlns:a16="http://schemas.microsoft.com/office/drawing/2014/main" id="{5CE50745-3ABA-6344-8769-F4008559C2FA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Прямоугольник: скругленные углы 42">
              <a:extLst>
                <a:ext uri="{FF2B5EF4-FFF2-40B4-BE49-F238E27FC236}">
                  <a16:creationId xmlns:a16="http://schemas.microsoft.com/office/drawing/2014/main" id="{E38D4DD0-09F8-8D4A-8C84-D6E6FB5E507C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43">
              <a:extLst>
                <a:ext uri="{FF2B5EF4-FFF2-40B4-BE49-F238E27FC236}">
                  <a16:creationId xmlns:a16="http://schemas.microsoft.com/office/drawing/2014/main" id="{91871802-B610-DB41-81CF-7E4B726A9B1E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Прямоугольник: скругленные углы 44">
              <a:extLst>
                <a:ext uri="{FF2B5EF4-FFF2-40B4-BE49-F238E27FC236}">
                  <a16:creationId xmlns:a16="http://schemas.microsoft.com/office/drawing/2014/main" id="{62D19D4D-290B-F246-97F2-DF4B8D54DEA5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CB54DE0B-9074-6B49-9670-B0DBF76553DC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61" name="Прямоугольник: скругленные углы 47">
              <a:extLst>
                <a:ext uri="{FF2B5EF4-FFF2-40B4-BE49-F238E27FC236}">
                  <a16:creationId xmlns:a16="http://schemas.microsoft.com/office/drawing/2014/main" id="{BF38892E-42CC-5C42-B912-AB75FEA670BF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Прямоугольник: скругленные углы 48">
              <a:extLst>
                <a:ext uri="{FF2B5EF4-FFF2-40B4-BE49-F238E27FC236}">
                  <a16:creationId xmlns:a16="http://schemas.microsoft.com/office/drawing/2014/main" id="{14BA909E-BAC9-614A-AE11-8576ABEF5F9D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7B484EEE-6D18-BF43-B170-E22BFBC059D5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64" name="Прямоугольник: скругленные углы 51">
              <a:extLst>
                <a:ext uri="{FF2B5EF4-FFF2-40B4-BE49-F238E27FC236}">
                  <a16:creationId xmlns:a16="http://schemas.microsoft.com/office/drawing/2014/main" id="{BA2BF39B-30D4-1243-9DA0-BCFA88B73294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52">
              <a:extLst>
                <a:ext uri="{FF2B5EF4-FFF2-40B4-BE49-F238E27FC236}">
                  <a16:creationId xmlns:a16="http://schemas.microsoft.com/office/drawing/2014/main" id="{DFD03D11-B20F-0748-8D11-A010007E896D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53">
              <a:extLst>
                <a:ext uri="{FF2B5EF4-FFF2-40B4-BE49-F238E27FC236}">
                  <a16:creationId xmlns:a16="http://schemas.microsoft.com/office/drawing/2014/main" id="{191FA80E-7E6F-524F-87F2-B5F9B5BE989E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7" name="Прямоугольник: скругленные углы 54">
              <a:extLst>
                <a:ext uri="{FF2B5EF4-FFF2-40B4-BE49-F238E27FC236}">
                  <a16:creationId xmlns:a16="http://schemas.microsoft.com/office/drawing/2014/main" id="{81823188-BE99-B54D-8E8B-15DD74D2484A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CF9B11DC-0D71-2046-8453-441AAF65778E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69" name="Прямоугольник: скругленные углы 56">
              <a:extLst>
                <a:ext uri="{FF2B5EF4-FFF2-40B4-BE49-F238E27FC236}">
                  <a16:creationId xmlns:a16="http://schemas.microsoft.com/office/drawing/2014/main" id="{1D1FB393-22CD-6344-85CF-45954E78F599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Прямоугольник: скругленные углы 57">
              <a:extLst>
                <a:ext uri="{FF2B5EF4-FFF2-40B4-BE49-F238E27FC236}">
                  <a16:creationId xmlns:a16="http://schemas.microsoft.com/office/drawing/2014/main" id="{54E3B481-6EB1-B943-86CF-51D34ADE0FB3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0B04E244-CF38-B64E-AA60-219EC1A1A794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72" name="Рисунок 93">
              <a:extLst>
                <a:ext uri="{FF2B5EF4-FFF2-40B4-BE49-F238E27FC236}">
                  <a16:creationId xmlns:a16="http://schemas.microsoft.com/office/drawing/2014/main" id="{35147528-19B0-E946-8A66-6FFB22C5F598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D85766C7-FAC3-F74D-8B14-A598B57ABFC3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74" name="Прямоугольник: скругленные углы 63">
              <a:extLst>
                <a:ext uri="{FF2B5EF4-FFF2-40B4-BE49-F238E27FC236}">
                  <a16:creationId xmlns:a16="http://schemas.microsoft.com/office/drawing/2014/main" id="{39DAF63A-0D95-7E4C-B25A-02F26405A485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Прямоугольник: скругленные углы 64">
              <a:extLst>
                <a:ext uri="{FF2B5EF4-FFF2-40B4-BE49-F238E27FC236}">
                  <a16:creationId xmlns:a16="http://schemas.microsoft.com/office/drawing/2014/main" id="{F410DCAF-B1CC-D542-B1C9-32D6C9CDB88B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: скругленные углы 65">
              <a:extLst>
                <a:ext uri="{FF2B5EF4-FFF2-40B4-BE49-F238E27FC236}">
                  <a16:creationId xmlns:a16="http://schemas.microsoft.com/office/drawing/2014/main" id="{DB061076-650D-9B43-B391-0286E34B39D6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Прямоугольник: скругленные углы 13">
              <a:extLst>
                <a:ext uri="{FF2B5EF4-FFF2-40B4-BE49-F238E27FC236}">
                  <a16:creationId xmlns:a16="http://schemas.microsoft.com/office/drawing/2014/main" id="{A946D9E3-8CF1-6241-AF90-F423F54564F4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" name="Прямоугольник: скругленные углы 15">
              <a:extLst>
                <a:ext uri="{FF2B5EF4-FFF2-40B4-BE49-F238E27FC236}">
                  <a16:creationId xmlns:a16="http://schemas.microsoft.com/office/drawing/2014/main" id="{E8268C33-E090-A14C-9C07-B468D91008FC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Прямоугольник: скругленные углы 48">
              <a:extLst>
                <a:ext uri="{FF2B5EF4-FFF2-40B4-BE49-F238E27FC236}">
                  <a16:creationId xmlns:a16="http://schemas.microsoft.com/office/drawing/2014/main" id="{62F65EA2-20EE-6B4D-865D-15F5B087A62F}"/>
                </a:ext>
              </a:extLst>
            </p:cNvPr>
            <p:cNvSpPr/>
            <p:nvPr userDrawn="1"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0" name="Прямоугольник: скругленные углы 56">
              <a:extLst>
                <a:ext uri="{FF2B5EF4-FFF2-40B4-BE49-F238E27FC236}">
                  <a16:creationId xmlns:a16="http://schemas.microsoft.com/office/drawing/2014/main" id="{AF66D908-4146-8D46-A58F-D40A77607E33}"/>
                </a:ext>
              </a:extLst>
            </p:cNvPr>
            <p:cNvSpPr/>
            <p:nvPr userDrawn="1"/>
          </p:nvSpPr>
          <p:spPr>
            <a:xfrm>
              <a:off x="-9461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E6240D0B-2E31-9302-6B58-3B7412E116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BD21EFF2-72C3-0638-ECC9-89544A8A78EE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9DE992BE-FEB7-1686-D574-50BC69748A79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529605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1838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Прямоугольник: скругленные углы 59">
            <a:extLst>
              <a:ext uri="{FF2B5EF4-FFF2-40B4-BE49-F238E27FC236}">
                <a16:creationId xmlns:a16="http://schemas.microsoft.com/office/drawing/2014/main" id="{6AF4706E-194B-0A30-2718-34E7D7319965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Прямоугольник: скругленные верхние углы 60">
            <a:extLst>
              <a:ext uri="{FF2B5EF4-FFF2-40B4-BE49-F238E27FC236}">
                <a16:creationId xmlns:a16="http://schemas.microsoft.com/office/drawing/2014/main" id="{66C04289-EBA6-A8EA-BE9E-D91E549D654E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67" name="Таблица 46">
            <a:extLst>
              <a:ext uri="{FF2B5EF4-FFF2-40B4-BE49-F238E27FC236}">
                <a16:creationId xmlns:a16="http://schemas.microsoft.com/office/drawing/2014/main" id="{EED75387-9477-C69D-3BA3-66D18A09F0E1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7774323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68" name="Полилиния: фигура 67">
            <a:extLst>
              <a:ext uri="{FF2B5EF4-FFF2-40B4-BE49-F238E27FC236}">
                <a16:creationId xmlns:a16="http://schemas.microsoft.com/office/drawing/2014/main" id="{E22991C0-E32F-2F6E-12D2-4EC3D4112A7E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080FC503-198C-9BAB-F771-B9545D4FF161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C7881004-6958-374E-B9BD-B9941EFFBC7A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4" name="Прямоугольник: скругленные углы 38">
              <a:extLst>
                <a:ext uri="{FF2B5EF4-FFF2-40B4-BE49-F238E27FC236}">
                  <a16:creationId xmlns:a16="http://schemas.microsoft.com/office/drawing/2014/main" id="{C5C10136-6174-8341-AAF3-60EFFEA4FFE6}"/>
                </a:ext>
              </a:extLst>
            </p:cNvPr>
            <p:cNvSpPr/>
            <p:nvPr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E27C25C2-CA2A-514D-8675-BCFC636D716E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53C7BE1-B48C-B54D-A49A-6CC758A9588E}"/>
                </a:ext>
              </a:extLst>
            </p:cNvPr>
            <p:cNvSpPr txBox="1"/>
            <p:nvPr userDrawn="1"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37" name="Прямоугольник: скругленные углы 41">
              <a:extLst>
                <a:ext uri="{FF2B5EF4-FFF2-40B4-BE49-F238E27FC236}">
                  <a16:creationId xmlns:a16="http://schemas.microsoft.com/office/drawing/2014/main" id="{6D777616-0635-8D48-8F87-EB0FFABD731D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Прямоугольник: скругленные углы 42">
              <a:extLst>
                <a:ext uri="{FF2B5EF4-FFF2-40B4-BE49-F238E27FC236}">
                  <a16:creationId xmlns:a16="http://schemas.microsoft.com/office/drawing/2014/main" id="{B081A747-C408-374F-A23D-544F0CB540E1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Прямоугольник: скругленные углы 43">
              <a:extLst>
                <a:ext uri="{FF2B5EF4-FFF2-40B4-BE49-F238E27FC236}">
                  <a16:creationId xmlns:a16="http://schemas.microsoft.com/office/drawing/2014/main" id="{ACAF3CF7-4B4E-0949-9FAC-DC97F7FE5056}"/>
                </a:ext>
              </a:extLst>
            </p:cNvPr>
            <p:cNvSpPr/>
            <p:nvPr userDrawn="1"/>
          </p:nvSpPr>
          <p:spPr>
            <a:xfrm>
              <a:off x="-1739900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углы 44">
              <a:extLst>
                <a:ext uri="{FF2B5EF4-FFF2-40B4-BE49-F238E27FC236}">
                  <a16:creationId xmlns:a16="http://schemas.microsoft.com/office/drawing/2014/main" id="{6771845E-8FF3-E247-8ACD-00401A9C8AF9}"/>
                </a:ext>
              </a:extLst>
            </p:cNvPr>
            <p:cNvSpPr/>
            <p:nvPr userDrawn="1"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8EC6C0B4-F87B-664A-AB1C-0C26BB7F5A2A}"/>
                </a:ext>
              </a:extLst>
            </p:cNvPr>
            <p:cNvSpPr txBox="1"/>
            <p:nvPr userDrawn="1"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2" name="Прямоугольник: скругленные углы 47">
              <a:extLst>
                <a:ext uri="{FF2B5EF4-FFF2-40B4-BE49-F238E27FC236}">
                  <a16:creationId xmlns:a16="http://schemas.microsoft.com/office/drawing/2014/main" id="{9EE72B71-8D38-E64F-9D3F-10D9AF617439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>
                <a:lumMod val="90000"/>
                <a:lumOff val="1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Прямоугольник: скругленные углы 48">
              <a:extLst>
                <a:ext uri="{FF2B5EF4-FFF2-40B4-BE49-F238E27FC236}">
                  <a16:creationId xmlns:a16="http://schemas.microsoft.com/office/drawing/2014/main" id="{FC5A15B5-758D-F24A-AA68-DDBFDC638A52}"/>
                </a:ext>
              </a:extLst>
            </p:cNvPr>
            <p:cNvSpPr/>
            <p:nvPr userDrawn="1"/>
          </p:nvSpPr>
          <p:spPr>
            <a:xfrm>
              <a:off x="-1739900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022A657-06DF-644D-9BAC-EE4E5AE0BC96}"/>
                </a:ext>
              </a:extLst>
            </p:cNvPr>
            <p:cNvSpPr txBox="1"/>
            <p:nvPr userDrawn="1"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45" name="Прямоугольник: скругленные углы 51">
              <a:extLst>
                <a:ext uri="{FF2B5EF4-FFF2-40B4-BE49-F238E27FC236}">
                  <a16:creationId xmlns:a16="http://schemas.microsoft.com/office/drawing/2014/main" id="{B8463760-2E95-7F41-8D69-78ADCD51424A}"/>
                </a:ext>
              </a:extLst>
            </p:cNvPr>
            <p:cNvSpPr/>
            <p:nvPr userDrawn="1"/>
          </p:nvSpPr>
          <p:spPr>
            <a:xfrm>
              <a:off x="-1475201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Прямоугольник: скругленные углы 52">
              <a:extLst>
                <a:ext uri="{FF2B5EF4-FFF2-40B4-BE49-F238E27FC236}">
                  <a16:creationId xmlns:a16="http://schemas.microsoft.com/office/drawing/2014/main" id="{F4E43358-7C59-7742-9006-77BCB78AAC96}"/>
                </a:ext>
              </a:extLst>
            </p:cNvPr>
            <p:cNvSpPr/>
            <p:nvPr userDrawn="1"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Прямоугольник: скругленные углы 53">
              <a:extLst>
                <a:ext uri="{FF2B5EF4-FFF2-40B4-BE49-F238E27FC236}">
                  <a16:creationId xmlns:a16="http://schemas.microsoft.com/office/drawing/2014/main" id="{8D74125F-3DAF-1243-B5DB-C50B7F067B7A}"/>
                </a:ext>
              </a:extLst>
            </p:cNvPr>
            <p:cNvSpPr/>
            <p:nvPr userDrawn="1"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Прямоугольник: скругленные углы 54">
              <a:extLst>
                <a:ext uri="{FF2B5EF4-FFF2-40B4-BE49-F238E27FC236}">
                  <a16:creationId xmlns:a16="http://schemas.microsoft.com/office/drawing/2014/main" id="{44432125-3D9D-D442-B24A-85728B35FD4A}"/>
                </a:ext>
              </a:extLst>
            </p:cNvPr>
            <p:cNvSpPr/>
            <p:nvPr userDrawn="1"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100AD9B-3799-5A44-84B2-58F0A8CEA72F}"/>
                </a:ext>
              </a:extLst>
            </p:cNvPr>
            <p:cNvSpPr txBox="1"/>
            <p:nvPr userDrawn="1"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50" name="Прямоугольник: скругленные углы 56">
              <a:extLst>
                <a:ext uri="{FF2B5EF4-FFF2-40B4-BE49-F238E27FC236}">
                  <a16:creationId xmlns:a16="http://schemas.microsoft.com/office/drawing/2014/main" id="{0F884F14-3960-B242-888C-339C387823E8}"/>
                </a:ext>
              </a:extLst>
            </p:cNvPr>
            <p:cNvSpPr/>
            <p:nvPr userDrawn="1"/>
          </p:nvSpPr>
          <p:spPr>
            <a:xfrm>
              <a:off x="-120977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Прямоугольник: скругленные углы 57">
              <a:extLst>
                <a:ext uri="{FF2B5EF4-FFF2-40B4-BE49-F238E27FC236}">
                  <a16:creationId xmlns:a16="http://schemas.microsoft.com/office/drawing/2014/main" id="{8C21DCD3-8FE4-8048-ABE4-97E1E06BFDF6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01253F1C-5597-744D-8CEA-5D6DD3C45E0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53" name="Рисунок 93">
              <a:extLst>
                <a:ext uri="{FF2B5EF4-FFF2-40B4-BE49-F238E27FC236}">
                  <a16:creationId xmlns:a16="http://schemas.microsoft.com/office/drawing/2014/main" id="{85953602-8DD0-414C-B7C0-3147B106D0D0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38D23689-A10C-C84C-A3F6-4C90E67083F4}"/>
                </a:ext>
              </a:extLst>
            </p:cNvPr>
            <p:cNvSpPr txBox="1"/>
            <p:nvPr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55" name="Прямоугольник: скругленные углы 63">
              <a:extLst>
                <a:ext uri="{FF2B5EF4-FFF2-40B4-BE49-F238E27FC236}">
                  <a16:creationId xmlns:a16="http://schemas.microsoft.com/office/drawing/2014/main" id="{A10FA71E-C641-A547-A901-7E3DEBBC73B6}"/>
                </a:ext>
              </a:extLst>
            </p:cNvPr>
            <p:cNvSpPr/>
            <p:nvPr userDrawn="1"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Прямоугольник: скругленные углы 64">
              <a:extLst>
                <a:ext uri="{FF2B5EF4-FFF2-40B4-BE49-F238E27FC236}">
                  <a16:creationId xmlns:a16="http://schemas.microsoft.com/office/drawing/2014/main" id="{CB3BDB71-8A17-634F-886A-D0C8E06D7541}"/>
                </a:ext>
              </a:extLst>
            </p:cNvPr>
            <p:cNvSpPr/>
            <p:nvPr userDrawn="1"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Прямоугольник: скругленные углы 65">
              <a:extLst>
                <a:ext uri="{FF2B5EF4-FFF2-40B4-BE49-F238E27FC236}">
                  <a16:creationId xmlns:a16="http://schemas.microsoft.com/office/drawing/2014/main" id="{A52014EE-AD24-8047-A7C5-8505CD5406A5}"/>
                </a:ext>
              </a:extLst>
            </p:cNvPr>
            <p:cNvSpPr/>
            <p:nvPr userDrawn="1"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13">
              <a:extLst>
                <a:ext uri="{FF2B5EF4-FFF2-40B4-BE49-F238E27FC236}">
                  <a16:creationId xmlns:a16="http://schemas.microsoft.com/office/drawing/2014/main" id="{A0DC93E9-C88B-3241-AB74-A84EDF436A3B}"/>
                </a:ext>
              </a:extLst>
            </p:cNvPr>
            <p:cNvSpPr/>
            <p:nvPr userDrawn="1"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Прямоугольник: скругленные углы 15">
              <a:extLst>
                <a:ext uri="{FF2B5EF4-FFF2-40B4-BE49-F238E27FC236}">
                  <a16:creationId xmlns:a16="http://schemas.microsoft.com/office/drawing/2014/main" id="{EB693D4B-DD7E-F542-804C-BF3AA740DA7C}"/>
                </a:ext>
              </a:extLst>
            </p:cNvPr>
            <p:cNvSpPr/>
            <p:nvPr userDrawn="1"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Прямоугольник: скругленные углы 48">
              <a:extLst>
                <a:ext uri="{FF2B5EF4-FFF2-40B4-BE49-F238E27FC236}">
                  <a16:creationId xmlns:a16="http://schemas.microsoft.com/office/drawing/2014/main" id="{9725E235-973A-2E46-917C-D9D5131CC91A}"/>
                </a:ext>
              </a:extLst>
            </p:cNvPr>
            <p:cNvSpPr/>
            <p:nvPr userDrawn="1"/>
          </p:nvSpPr>
          <p:spPr>
            <a:xfrm>
              <a:off x="-1475201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tx2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Прямоугольник: скругленные углы 56">
              <a:extLst>
                <a:ext uri="{FF2B5EF4-FFF2-40B4-BE49-F238E27FC236}">
                  <a16:creationId xmlns:a16="http://schemas.microsoft.com/office/drawing/2014/main" id="{BBC3A543-8AE3-0047-93A5-060D23112712}"/>
                </a:ext>
              </a:extLst>
            </p:cNvPr>
            <p:cNvSpPr/>
            <p:nvPr userDrawn="1"/>
          </p:nvSpPr>
          <p:spPr>
            <a:xfrm>
              <a:off x="-9461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661968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inal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ABC908F3-2C71-3587-E192-B523B037ECE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549398" y="883609"/>
            <a:ext cx="2131200" cy="473348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5" name="Полилиния 4">
              <a:extLst>
                <a:ext uri="{FF2B5EF4-FFF2-40B4-BE49-F238E27FC236}">
                  <a16:creationId xmlns:a16="http://schemas.microsoft.com/office/drawing/2014/main" id="{54AF277A-3642-82A7-A095-454A4DF9E269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solidFill>
              <a:schemeClr val="accent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19B40B49-AB0A-4209-5890-243E9D6ECAA0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4115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E1F914-6E31-3D8A-0729-94C84B17961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55808" y="1931435"/>
            <a:ext cx="6340418" cy="2123348"/>
          </a:xfrm>
        </p:spPr>
        <p:txBody>
          <a:bodyPr vert="horz" anchor="b">
            <a:noAutofit/>
          </a:bodyPr>
          <a:lstStyle>
            <a:lvl1pPr algn="l">
              <a:lnSpc>
                <a:spcPct val="87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ru-RU"/>
              <a:t>Напиши призыв </a:t>
            </a:r>
            <a:br>
              <a:rPr lang="ru-RU"/>
            </a:br>
            <a:r>
              <a:rPr lang="ru-RU"/>
              <a:t>к действию</a:t>
            </a:r>
            <a:r>
              <a:rPr lang="en-US"/>
              <a:t> </a:t>
            </a:r>
            <a:r>
              <a:rPr lang="ru-RU"/>
              <a:t>в 2–3 строки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5194112"/>
            <a:ext cx="3867020" cy="590868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Имя и фамилия спикера, контакты </a:t>
            </a:r>
            <a:br>
              <a:rPr lang="ru-RU"/>
            </a:br>
            <a:r>
              <a:rPr lang="ru-RU"/>
              <a:t>или другая информация</a:t>
            </a:r>
          </a:p>
        </p:txBody>
      </p:sp>
    </p:spTree>
    <p:extLst>
      <p:ext uri="{BB962C8B-B14F-4D97-AF65-F5344CB8AC3E}">
        <p14:creationId xmlns:p14="http://schemas.microsoft.com/office/powerpoint/2010/main" val="2879660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orient="horz" pos="268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_colo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E7388FD-D149-4D25-0D53-8FD572183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7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</a:t>
            </a:r>
            <a:br>
              <a:rPr lang="ru-RU"/>
            </a:br>
            <a:r>
              <a:rPr lang="ru-RU"/>
              <a:t>слайда в 1–2 строки</a:t>
            </a:r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574792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21549CC-0872-1288-C1D5-BD89CF9450AC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39" name="Прямоугольник: скругленные углы 38">
              <a:extLst>
                <a:ext uri="{FF2B5EF4-FFF2-40B4-BE49-F238E27FC236}">
                  <a16:creationId xmlns:a16="http://schemas.microsoft.com/office/drawing/2014/main" id="{26561D24-BBBB-253A-7A51-A96C57F40E5B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A2B8DFB7-79B0-0439-C360-6941BF32E4D7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9298A01-26D5-77F0-1B44-28C8BBA32B5A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42" name="Прямоугольник: скругленные углы 41">
              <a:extLst>
                <a:ext uri="{FF2B5EF4-FFF2-40B4-BE49-F238E27FC236}">
                  <a16:creationId xmlns:a16="http://schemas.microsoft.com/office/drawing/2014/main" id="{21EA26B0-23BA-7A00-892D-A1F326878E52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Прямоугольник: скругленные углы 42">
              <a:extLst>
                <a:ext uri="{FF2B5EF4-FFF2-40B4-BE49-F238E27FC236}">
                  <a16:creationId xmlns:a16="http://schemas.microsoft.com/office/drawing/2014/main" id="{A5D3FC7E-9D3D-EB60-5F4A-AB0976EFEC60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068336B-339F-1776-3C0F-78C717AA59C8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48ABCE10-7A7F-1324-4D1D-7AD10D1042B1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FA92F67-A433-8731-5914-B14989A94311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504D71D0-6847-ADE8-467F-77206D5DE761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: скругленные углы 53">
              <a:extLst>
                <a:ext uri="{FF2B5EF4-FFF2-40B4-BE49-F238E27FC236}">
                  <a16:creationId xmlns:a16="http://schemas.microsoft.com/office/drawing/2014/main" id="{AB17545C-2653-11B9-6AAD-F2414CA88813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рямоугольник: скругленные углы 54">
              <a:extLst>
                <a:ext uri="{FF2B5EF4-FFF2-40B4-BE49-F238E27FC236}">
                  <a16:creationId xmlns:a16="http://schemas.microsoft.com/office/drawing/2014/main" id="{1D454EF4-1099-5940-A5D4-5F82D3172AE1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AB6D7EE-DAF5-E7EF-6D1E-0891469BD32B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44" name="Прямоугольник: скругленные углы 43">
              <a:extLst>
                <a:ext uri="{FF2B5EF4-FFF2-40B4-BE49-F238E27FC236}">
                  <a16:creationId xmlns:a16="http://schemas.microsoft.com/office/drawing/2014/main" id="{E6DA982A-4819-86A4-B3E3-3820BE19C0E0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Прямоугольник: скругленные углы 51">
              <a:extLst>
                <a:ext uri="{FF2B5EF4-FFF2-40B4-BE49-F238E27FC236}">
                  <a16:creationId xmlns:a16="http://schemas.microsoft.com/office/drawing/2014/main" id="{4C7A1397-7A11-591D-AA68-55A9039699E9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64568EE7-F81D-84C3-5AE6-8B77C2134C94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Прямоугольник: скругленные углы 57">
              <a:extLst>
                <a:ext uri="{FF2B5EF4-FFF2-40B4-BE49-F238E27FC236}">
                  <a16:creationId xmlns:a16="http://schemas.microsoft.com/office/drawing/2014/main" id="{0BC0B63B-AFDA-54FE-3829-EC8AA6CFBAEB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2FE7B29-A123-EF1E-09DB-12AADC874FA6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60" name="Рисунок 93">
              <a:extLst>
                <a:ext uri="{FF2B5EF4-FFF2-40B4-BE49-F238E27FC236}">
                  <a16:creationId xmlns:a16="http://schemas.microsoft.com/office/drawing/2014/main" id="{AA53B632-DD94-4453-746B-3AC3CCA27D0B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DE6F264-2180-A77B-E487-478DC7F970C2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64" name="Прямоугольник: скругленные углы 63">
              <a:extLst>
                <a:ext uri="{FF2B5EF4-FFF2-40B4-BE49-F238E27FC236}">
                  <a16:creationId xmlns:a16="http://schemas.microsoft.com/office/drawing/2014/main" id="{2B9BFCAF-86CA-1244-E85A-F30E4AC766F2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: скругленные углы 64">
              <a:extLst>
                <a:ext uri="{FF2B5EF4-FFF2-40B4-BE49-F238E27FC236}">
                  <a16:creationId xmlns:a16="http://schemas.microsoft.com/office/drawing/2014/main" id="{860A63BB-781E-AEA8-4E5D-D35214A49880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: скругленные углы 65">
              <a:extLst>
                <a:ext uri="{FF2B5EF4-FFF2-40B4-BE49-F238E27FC236}">
                  <a16:creationId xmlns:a16="http://schemas.microsoft.com/office/drawing/2014/main" id="{09CABE96-EC03-3157-B363-C0896B3891CC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EF4B2147-300C-3BFA-81C6-8712BD20BD73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4EE10FC-9DA3-93DA-C40F-EE6AAC1DA6AC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580B6A99-E717-2740-36C4-A72DCF75745A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Прямоугольник: скругленные углы 16">
              <a:extLst>
                <a:ext uri="{FF2B5EF4-FFF2-40B4-BE49-F238E27FC236}">
                  <a16:creationId xmlns:a16="http://schemas.microsoft.com/office/drawing/2014/main" id="{8CC18F95-EA8B-20E0-9AED-F6279027B331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D236EB0-0368-AF7A-C5FA-BA1C74876D58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45" name="Прямоугольник: скругленные углы 48">
              <a:extLst>
                <a:ext uri="{FF2B5EF4-FFF2-40B4-BE49-F238E27FC236}">
                  <a16:creationId xmlns:a16="http://schemas.microsoft.com/office/drawing/2014/main" id="{EB6594F7-A0D8-4F43-B230-20852203C3E3}"/>
                </a:ext>
              </a:extLst>
            </p:cNvPr>
            <p:cNvSpPr/>
            <p:nvPr userDrawn="1"/>
          </p:nvSpPr>
          <p:spPr>
            <a:xfrm>
              <a:off x="-1741352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7" name="Нижний колонтитул 4">
            <a:extLst>
              <a:ext uri="{FF2B5EF4-FFF2-40B4-BE49-F238E27FC236}">
                <a16:creationId xmlns:a16="http://schemas.microsoft.com/office/drawing/2014/main" id="{1F4D90A4-5598-394F-84A2-9557098B6C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B04A9133-D2FA-FF49-BA0E-2BDDFFCCEC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9468" t="30431" r="9932" b="30861"/>
          <a:stretch/>
        </p:blipFill>
        <p:spPr>
          <a:xfrm>
            <a:off x="635000" y="6403975"/>
            <a:ext cx="1044575" cy="250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149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_colo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Объект 2">
            <a:extLst>
              <a:ext uri="{FF2B5EF4-FFF2-40B4-BE49-F238E27FC236}">
                <a16:creationId xmlns:a16="http://schemas.microsoft.com/office/drawing/2014/main" id="{00E81AAF-ABDB-4D08-7BE3-C7B407E68E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574792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E69F2E9-9C91-47CB-104F-08223C29A8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4"/>
            <a:ext cx="10910888" cy="3588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Сформулируй заголовок слайда в 1 строку</a:t>
            </a:r>
          </a:p>
        </p:txBody>
      </p:sp>
      <p:sp>
        <p:nvSpPr>
          <p:cNvPr id="7" name="Текст 10">
            <a:extLst>
              <a:ext uri="{FF2B5EF4-FFF2-40B4-BE49-F238E27FC236}">
                <a16:creationId xmlns:a16="http://schemas.microsoft.com/office/drawing/2014/main" id="{E9EE4166-D061-8EE2-C4D5-FEB88C0F4E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763" y="833072"/>
            <a:ext cx="10926762" cy="358858"/>
          </a:xfrm>
        </p:spPr>
        <p:txBody>
          <a:bodyPr/>
          <a:lstStyle>
            <a:lvl1pPr>
              <a:lnSpc>
                <a:spcPct val="9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Сформулируй подзаголовок в 1–2 строки</a:t>
            </a:r>
          </a:p>
        </p:txBody>
      </p:sp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75DC7CDE-D39A-A843-A825-0CA3AC516B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9468" t="30431" r="9932" b="30861"/>
          <a:stretch/>
        </p:blipFill>
        <p:spPr>
          <a:xfrm>
            <a:off x="635000" y="6403975"/>
            <a:ext cx="1044575" cy="250826"/>
          </a:xfrm>
          <a:prstGeom prst="rect">
            <a:avLst/>
          </a:prstGeom>
        </p:spPr>
      </p:pic>
      <p:sp>
        <p:nvSpPr>
          <p:cNvPr id="48" name="Нижний колонтитул 4">
            <a:extLst>
              <a:ext uri="{FF2B5EF4-FFF2-40B4-BE49-F238E27FC236}">
                <a16:creationId xmlns:a16="http://schemas.microsoft.com/office/drawing/2014/main" id="{6C2D7C7E-8FA5-FD4A-BA0C-5BDD33B58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648F2E3E-6112-2C4C-8D1D-2D8CF74E7D90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50" name="Прямоугольник: скругленные углы 38">
              <a:extLst>
                <a:ext uri="{FF2B5EF4-FFF2-40B4-BE49-F238E27FC236}">
                  <a16:creationId xmlns:a16="http://schemas.microsoft.com/office/drawing/2014/main" id="{0FEF8000-4C08-614A-9F86-BE0DD9109AE5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E622BFE9-AC85-8E4C-BEE2-2DD1DFB9D180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82C6DBC3-5381-A74B-8F11-DE335DDBBDB0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69" name="Прямоугольник: скругленные углы 41">
              <a:extLst>
                <a:ext uri="{FF2B5EF4-FFF2-40B4-BE49-F238E27FC236}">
                  <a16:creationId xmlns:a16="http://schemas.microsoft.com/office/drawing/2014/main" id="{AACE419B-BE59-4F43-981D-9DEFE65B0958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Прямоугольник: скругленные углы 42">
              <a:extLst>
                <a:ext uri="{FF2B5EF4-FFF2-40B4-BE49-F238E27FC236}">
                  <a16:creationId xmlns:a16="http://schemas.microsoft.com/office/drawing/2014/main" id="{D357E59A-4A88-184D-A40B-046F72FE9E74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FE983242-104D-8C42-A7FB-3001920446F7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72" name="Прямоугольник: скругленные углы 48">
              <a:extLst>
                <a:ext uri="{FF2B5EF4-FFF2-40B4-BE49-F238E27FC236}">
                  <a16:creationId xmlns:a16="http://schemas.microsoft.com/office/drawing/2014/main" id="{B9D2BE53-46DE-6B4A-8097-E2AC77284DD5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C4B67CA3-C9D7-D546-A4B0-4CCF85BD625D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74" name="Прямоугольник: скругленные углы 52">
              <a:extLst>
                <a:ext uri="{FF2B5EF4-FFF2-40B4-BE49-F238E27FC236}">
                  <a16:creationId xmlns:a16="http://schemas.microsoft.com/office/drawing/2014/main" id="{FB1AAE82-4E11-C148-B7CF-35879FB6ABCD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Прямоугольник: скругленные углы 53">
              <a:extLst>
                <a:ext uri="{FF2B5EF4-FFF2-40B4-BE49-F238E27FC236}">
                  <a16:creationId xmlns:a16="http://schemas.microsoft.com/office/drawing/2014/main" id="{E1AA3362-7DD3-8F47-9E89-D9C8BCE70749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: скругленные углы 54">
              <a:extLst>
                <a:ext uri="{FF2B5EF4-FFF2-40B4-BE49-F238E27FC236}">
                  <a16:creationId xmlns:a16="http://schemas.microsoft.com/office/drawing/2014/main" id="{0626B1CE-E5AE-DE4C-A31E-7BF828AECEDA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0BA97619-4997-DA47-9A36-26A2C52FD7CB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78" name="Прямоугольник: скругленные углы 43">
              <a:extLst>
                <a:ext uri="{FF2B5EF4-FFF2-40B4-BE49-F238E27FC236}">
                  <a16:creationId xmlns:a16="http://schemas.microsoft.com/office/drawing/2014/main" id="{43B6C6BE-5E18-0D4A-8BA2-EC9DD2CE2E3C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Прямоугольник: скругленные углы 51">
              <a:extLst>
                <a:ext uri="{FF2B5EF4-FFF2-40B4-BE49-F238E27FC236}">
                  <a16:creationId xmlns:a16="http://schemas.microsoft.com/office/drawing/2014/main" id="{ADFA8A15-FA8C-E141-9462-4F8AF478ADBB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0" name="Прямоугольник: скругленные углы 56">
              <a:extLst>
                <a:ext uri="{FF2B5EF4-FFF2-40B4-BE49-F238E27FC236}">
                  <a16:creationId xmlns:a16="http://schemas.microsoft.com/office/drawing/2014/main" id="{C467CE4A-4EA1-FA4E-A1D9-F6296092BD34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: скругленные углы 57">
              <a:extLst>
                <a:ext uri="{FF2B5EF4-FFF2-40B4-BE49-F238E27FC236}">
                  <a16:creationId xmlns:a16="http://schemas.microsoft.com/office/drawing/2014/main" id="{1AEEB0A2-0198-2D49-A658-6982704DD4A5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6CE588C9-3546-B347-A4F8-CB4CBA85FC95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83" name="Рисунок 93">
              <a:extLst>
                <a:ext uri="{FF2B5EF4-FFF2-40B4-BE49-F238E27FC236}">
                  <a16:creationId xmlns:a16="http://schemas.microsoft.com/office/drawing/2014/main" id="{A74B1CAD-8989-D348-8465-FD0FBBCB07D6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118B9B9F-6BB2-0B4E-8DF9-8FDFFA3067F3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85" name="Прямоугольник: скругленные углы 63">
              <a:extLst>
                <a:ext uri="{FF2B5EF4-FFF2-40B4-BE49-F238E27FC236}">
                  <a16:creationId xmlns:a16="http://schemas.microsoft.com/office/drawing/2014/main" id="{0F58099B-23C9-934D-BC79-ABBA253B3C9E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Прямоугольник: скругленные углы 64">
              <a:extLst>
                <a:ext uri="{FF2B5EF4-FFF2-40B4-BE49-F238E27FC236}">
                  <a16:creationId xmlns:a16="http://schemas.microsoft.com/office/drawing/2014/main" id="{5C9A2D73-0741-D34D-AF49-40482534040F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7" name="Прямоугольник: скругленные углы 65">
              <a:extLst>
                <a:ext uri="{FF2B5EF4-FFF2-40B4-BE49-F238E27FC236}">
                  <a16:creationId xmlns:a16="http://schemas.microsoft.com/office/drawing/2014/main" id="{722B8CD6-DAE6-A240-955C-CF87126D23D3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8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19850F91-A4C3-9D47-BB90-CD021C348092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51DBD2A3-0EF3-FA43-9D30-8827A57A2345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90" name="Прямоугольник: скругленные углы 15">
              <a:extLst>
                <a:ext uri="{FF2B5EF4-FFF2-40B4-BE49-F238E27FC236}">
                  <a16:creationId xmlns:a16="http://schemas.microsoft.com/office/drawing/2014/main" id="{CD27F48E-7A94-3D42-B1AF-3719469C57B0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Прямоугольник: скругленные углы 16">
              <a:extLst>
                <a:ext uri="{FF2B5EF4-FFF2-40B4-BE49-F238E27FC236}">
                  <a16:creationId xmlns:a16="http://schemas.microsoft.com/office/drawing/2014/main" id="{962AB29A-8572-4A48-A284-5AF381D7E091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EBDA067E-F313-334C-AEE3-BCFADD5879DB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93" name="Прямоугольник: скругленные углы 48">
              <a:extLst>
                <a:ext uri="{FF2B5EF4-FFF2-40B4-BE49-F238E27FC236}">
                  <a16:creationId xmlns:a16="http://schemas.microsoft.com/office/drawing/2014/main" id="{E8E225C0-12BD-E141-966E-1E51223BFEF6}"/>
                </a:ext>
              </a:extLst>
            </p:cNvPr>
            <p:cNvSpPr/>
            <p:nvPr userDrawn="1"/>
          </p:nvSpPr>
          <p:spPr>
            <a:xfrm>
              <a:off x="-1741352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675971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_title_colo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71F2FD1-0E8C-A36C-3CEF-FF20A77F3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574792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9273FEED-185C-3EDE-5702-91BFF3386C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4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2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A9C77C2E-E1B8-8A5D-636C-B20627EF04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99" y="420493"/>
            <a:ext cx="10910888" cy="783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2000"/>
              </a:lnSpc>
              <a:defRPr sz="4400" spc="-30" baseline="0">
                <a:solidFill>
                  <a:schemeClr val="bg2"/>
                </a:solidFill>
              </a:defRPr>
            </a:lvl1pPr>
          </a:lstStyle>
          <a:p>
            <a:r>
              <a:rPr lang="ru-RU"/>
              <a:t>Заголовок слайда в 1 строку</a:t>
            </a:r>
          </a:p>
        </p:txBody>
      </p:sp>
      <p:sp>
        <p:nvSpPr>
          <p:cNvPr id="47" name="Нижний колонтитул 4">
            <a:extLst>
              <a:ext uri="{FF2B5EF4-FFF2-40B4-BE49-F238E27FC236}">
                <a16:creationId xmlns:a16="http://schemas.microsoft.com/office/drawing/2014/main" id="{7C646F59-D044-7D48-9BC3-41161001CF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endParaRPr lang="ru-RU" dirty="0"/>
          </a:p>
        </p:txBody>
      </p:sp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B1606FB3-EAE8-C340-A573-F7D0830BCE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9468" t="30431" r="9932" b="30861"/>
          <a:stretch/>
        </p:blipFill>
        <p:spPr>
          <a:xfrm>
            <a:off x="635000" y="6403975"/>
            <a:ext cx="1044575" cy="250826"/>
          </a:xfrm>
          <a:prstGeom prst="rect">
            <a:avLst/>
          </a:prstGeom>
        </p:spPr>
      </p:pic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BE3AE89F-F7D2-C24B-8D53-47F4EDA71137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50" name="Прямоугольник: скругленные углы 38">
              <a:extLst>
                <a:ext uri="{FF2B5EF4-FFF2-40B4-BE49-F238E27FC236}">
                  <a16:creationId xmlns:a16="http://schemas.microsoft.com/office/drawing/2014/main" id="{4257A3B2-653D-6A42-88F3-40F94BEB74F7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2DD0E750-5A81-5148-A122-DA8B993B4B36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F082253-DD74-384E-B741-50C9CCCD68A6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69" name="Прямоугольник: скругленные углы 41">
              <a:extLst>
                <a:ext uri="{FF2B5EF4-FFF2-40B4-BE49-F238E27FC236}">
                  <a16:creationId xmlns:a16="http://schemas.microsoft.com/office/drawing/2014/main" id="{86C5C00D-FAE2-B84D-BEC2-20471F019D10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Прямоугольник: скругленные углы 42">
              <a:extLst>
                <a:ext uri="{FF2B5EF4-FFF2-40B4-BE49-F238E27FC236}">
                  <a16:creationId xmlns:a16="http://schemas.microsoft.com/office/drawing/2014/main" id="{A7D2A123-904D-4D4E-B29F-2F4E37E9A21F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FBDB792B-A1F4-FF4F-9980-667849588703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72" name="Прямоугольник: скругленные углы 48">
              <a:extLst>
                <a:ext uri="{FF2B5EF4-FFF2-40B4-BE49-F238E27FC236}">
                  <a16:creationId xmlns:a16="http://schemas.microsoft.com/office/drawing/2014/main" id="{3D169822-92BD-554A-8B63-3899F9638B69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686F239C-1BC3-8844-A33B-2456CED6C5EB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74" name="Прямоугольник: скругленные углы 52">
              <a:extLst>
                <a:ext uri="{FF2B5EF4-FFF2-40B4-BE49-F238E27FC236}">
                  <a16:creationId xmlns:a16="http://schemas.microsoft.com/office/drawing/2014/main" id="{459A6E71-3826-9647-9553-B6920FBC8438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Прямоугольник: скругленные углы 53">
              <a:extLst>
                <a:ext uri="{FF2B5EF4-FFF2-40B4-BE49-F238E27FC236}">
                  <a16:creationId xmlns:a16="http://schemas.microsoft.com/office/drawing/2014/main" id="{93A5957A-BE91-8749-A437-CFFAE3C333C1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: скругленные углы 54">
              <a:extLst>
                <a:ext uri="{FF2B5EF4-FFF2-40B4-BE49-F238E27FC236}">
                  <a16:creationId xmlns:a16="http://schemas.microsoft.com/office/drawing/2014/main" id="{867EB637-2AF1-7945-AA94-6473997CD7E8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F93B3DAD-57D1-BF4C-A33E-EA5180B7D7D6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78" name="Прямоугольник: скругленные углы 43">
              <a:extLst>
                <a:ext uri="{FF2B5EF4-FFF2-40B4-BE49-F238E27FC236}">
                  <a16:creationId xmlns:a16="http://schemas.microsoft.com/office/drawing/2014/main" id="{321A7AFF-70D2-594B-91F6-08D74F6DC47F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Прямоугольник: скругленные углы 51">
              <a:extLst>
                <a:ext uri="{FF2B5EF4-FFF2-40B4-BE49-F238E27FC236}">
                  <a16:creationId xmlns:a16="http://schemas.microsoft.com/office/drawing/2014/main" id="{B2C22744-12B2-1944-A4FF-9A6D719826DE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0" name="Прямоугольник: скругленные углы 56">
              <a:extLst>
                <a:ext uri="{FF2B5EF4-FFF2-40B4-BE49-F238E27FC236}">
                  <a16:creationId xmlns:a16="http://schemas.microsoft.com/office/drawing/2014/main" id="{B238B270-9CB6-4F44-9A08-1EB6BE9731ED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: скругленные углы 57">
              <a:extLst>
                <a:ext uri="{FF2B5EF4-FFF2-40B4-BE49-F238E27FC236}">
                  <a16:creationId xmlns:a16="http://schemas.microsoft.com/office/drawing/2014/main" id="{C2E07BB3-BD75-2A4B-8AD3-E4EBA018F961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340FA73-EFE0-7347-B844-E62AF189709E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83" name="Рисунок 93">
              <a:extLst>
                <a:ext uri="{FF2B5EF4-FFF2-40B4-BE49-F238E27FC236}">
                  <a16:creationId xmlns:a16="http://schemas.microsoft.com/office/drawing/2014/main" id="{35D7E50E-0B9E-164C-834F-88BC113D34FA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BC3A8A21-9B73-F24F-9D85-C8297CC039D7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85" name="Прямоугольник: скругленные углы 63">
              <a:extLst>
                <a:ext uri="{FF2B5EF4-FFF2-40B4-BE49-F238E27FC236}">
                  <a16:creationId xmlns:a16="http://schemas.microsoft.com/office/drawing/2014/main" id="{568B5506-CB45-3644-9AC6-65068B50C5CD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Прямоугольник: скругленные углы 64">
              <a:extLst>
                <a:ext uri="{FF2B5EF4-FFF2-40B4-BE49-F238E27FC236}">
                  <a16:creationId xmlns:a16="http://schemas.microsoft.com/office/drawing/2014/main" id="{704507D1-6554-3445-A893-C3E99FF77EBF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7" name="Прямоугольник: скругленные углы 65">
              <a:extLst>
                <a:ext uri="{FF2B5EF4-FFF2-40B4-BE49-F238E27FC236}">
                  <a16:creationId xmlns:a16="http://schemas.microsoft.com/office/drawing/2014/main" id="{769BFD11-DA86-5845-8F9D-7108626C4F54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8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B3E4EDD5-2D06-8441-BA59-C8B7EAD926AB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70AFF32F-F5B7-EE42-A83B-8ECFA5DBBDB3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90" name="Прямоугольник: скругленные углы 15">
              <a:extLst>
                <a:ext uri="{FF2B5EF4-FFF2-40B4-BE49-F238E27FC236}">
                  <a16:creationId xmlns:a16="http://schemas.microsoft.com/office/drawing/2014/main" id="{78AFFE3A-93F9-BD49-B40C-12E9F0FB5826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Прямоугольник: скругленные углы 16">
              <a:extLst>
                <a:ext uri="{FF2B5EF4-FFF2-40B4-BE49-F238E27FC236}">
                  <a16:creationId xmlns:a16="http://schemas.microsoft.com/office/drawing/2014/main" id="{0959F5F7-C932-4944-A9D9-004C4AAAF6BB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D16CF2AD-724B-F44C-AE2A-443441C35A28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93" name="Прямоугольник: скругленные углы 48">
              <a:extLst>
                <a:ext uri="{FF2B5EF4-FFF2-40B4-BE49-F238E27FC236}">
                  <a16:creationId xmlns:a16="http://schemas.microsoft.com/office/drawing/2014/main" id="{48AAFC6C-AA70-CD4F-926F-CCD16ED7FBA4}"/>
                </a:ext>
              </a:extLst>
            </p:cNvPr>
            <p:cNvSpPr/>
            <p:nvPr userDrawn="1"/>
          </p:nvSpPr>
          <p:spPr>
            <a:xfrm>
              <a:off x="-1741352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929001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_colo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4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C9800CF7-ABC5-B2F5-0454-607E6375863B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верхние углы 35">
            <a:extLst>
              <a:ext uri="{FF2B5EF4-FFF2-40B4-BE49-F238E27FC236}">
                <a16:creationId xmlns:a16="http://schemas.microsoft.com/office/drawing/2014/main" id="{C2940C45-7EC6-0986-B020-2D94E4C01F25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7" name="Таблица 46">
            <a:extLst>
              <a:ext uri="{FF2B5EF4-FFF2-40B4-BE49-F238E27FC236}">
                <a16:creationId xmlns:a16="http://schemas.microsoft.com/office/drawing/2014/main" id="{22E21D68-4F58-F199-36D3-C10450C366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574792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8" name="Полилиния: фигура 37">
            <a:extLst>
              <a:ext uri="{FF2B5EF4-FFF2-40B4-BE49-F238E27FC236}">
                <a16:creationId xmlns:a16="http://schemas.microsoft.com/office/drawing/2014/main" id="{84FF97CD-0431-AB46-37C2-E699CA98991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A7B63E7B-62B1-B63D-8185-8BE47CB66443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11CE47-F2DE-CA1C-5C0F-C21FAC0B5671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6" name="Прямоугольник: скругленные верхние углы 5">
            <a:extLst>
              <a:ext uri="{FF2B5EF4-FFF2-40B4-BE49-F238E27FC236}">
                <a16:creationId xmlns:a16="http://schemas.microsoft.com/office/drawing/2014/main" id="{2A7065C9-92E3-6B9B-9ACA-AEB5C23862DE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32DE9F-07AB-D3EB-D833-C1DC910E0CE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92C43A9F-0476-8E46-8873-DC85E19B0D43}"/>
              </a:ext>
            </a:extLst>
          </p:cNvPr>
          <p:cNvGrpSpPr/>
          <p:nvPr userDrawn="1"/>
        </p:nvGrpSpPr>
        <p:grpSpPr>
          <a:xfrm>
            <a:off x="-2138458" y="3070447"/>
            <a:ext cx="1935384" cy="3787553"/>
            <a:chOff x="-2138458" y="3070447"/>
            <a:chExt cx="1935384" cy="3787553"/>
          </a:xfrm>
        </p:grpSpPr>
        <p:sp>
          <p:nvSpPr>
            <p:cNvPr id="47" name="Прямоугольник: скругленные углы 38">
              <a:extLst>
                <a:ext uri="{FF2B5EF4-FFF2-40B4-BE49-F238E27FC236}">
                  <a16:creationId xmlns:a16="http://schemas.microsoft.com/office/drawing/2014/main" id="{3592B896-2FA0-3D4A-8351-344EB42B4C02}"/>
                </a:ext>
              </a:extLst>
            </p:cNvPr>
            <p:cNvSpPr/>
            <p:nvPr userDrawn="1"/>
          </p:nvSpPr>
          <p:spPr>
            <a:xfrm>
              <a:off x="-2138458" y="3125312"/>
              <a:ext cx="1928241" cy="2468818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Прямоугольник: скругленные верхние углы 39">
              <a:extLst>
                <a:ext uri="{FF2B5EF4-FFF2-40B4-BE49-F238E27FC236}">
                  <a16:creationId xmlns:a16="http://schemas.microsoft.com/office/drawing/2014/main" id="{75FBE025-BB73-DD4B-A8D5-C4C46ED5C679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56D7DD3-FFBE-7242-B7D2-176534F54E49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63" name="Прямоугольник: скругленные углы 41">
              <a:extLst>
                <a:ext uri="{FF2B5EF4-FFF2-40B4-BE49-F238E27FC236}">
                  <a16:creationId xmlns:a16="http://schemas.microsoft.com/office/drawing/2014/main" id="{B31AC03A-0175-D74C-8AE2-353A4ED6861A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Прямоугольник: скругленные углы 42">
              <a:extLst>
                <a:ext uri="{FF2B5EF4-FFF2-40B4-BE49-F238E27FC236}">
                  <a16:creationId xmlns:a16="http://schemas.microsoft.com/office/drawing/2014/main" id="{6F6124BF-174C-8944-B99C-0F4062465355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D11BDA7-C5D8-C64B-AE1C-E8F8A1C9D14D}"/>
                </a:ext>
              </a:extLst>
            </p:cNvPr>
            <p:cNvSpPr txBox="1"/>
            <p:nvPr/>
          </p:nvSpPr>
          <p:spPr>
            <a:xfrm>
              <a:off x="-2003446" y="3935644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больших плашек</a:t>
              </a:r>
            </a:p>
          </p:txBody>
        </p:sp>
        <p:sp>
          <p:nvSpPr>
            <p:cNvPr id="70" name="Прямоугольник: скругленные углы 48">
              <a:extLst>
                <a:ext uri="{FF2B5EF4-FFF2-40B4-BE49-F238E27FC236}">
                  <a16:creationId xmlns:a16="http://schemas.microsoft.com/office/drawing/2014/main" id="{EF53E3A6-DFEC-C641-B0E2-A00E918B27C5}"/>
                </a:ext>
              </a:extLst>
            </p:cNvPr>
            <p:cNvSpPr/>
            <p:nvPr userDrawn="1"/>
          </p:nvSpPr>
          <p:spPr>
            <a:xfrm>
              <a:off x="-2004963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49C4BC9-A3AD-844A-96E6-79232F1CFBD8}"/>
                </a:ext>
              </a:extLst>
            </p:cNvPr>
            <p:cNvSpPr txBox="1"/>
            <p:nvPr/>
          </p:nvSpPr>
          <p:spPr>
            <a:xfrm>
              <a:off x="-2003446" y="4451492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а маленьких плашек</a:t>
              </a:r>
            </a:p>
          </p:txBody>
        </p:sp>
        <p:sp>
          <p:nvSpPr>
            <p:cNvPr id="72" name="Прямоугольник: скругленные углы 52">
              <a:extLst>
                <a:ext uri="{FF2B5EF4-FFF2-40B4-BE49-F238E27FC236}">
                  <a16:creationId xmlns:a16="http://schemas.microsoft.com/office/drawing/2014/main" id="{9EB91932-7AD2-6D48-8292-684A0FE4E8E9}"/>
                </a:ext>
              </a:extLst>
            </p:cNvPr>
            <p:cNvSpPr/>
            <p:nvPr/>
          </p:nvSpPr>
          <p:spPr>
            <a:xfrm>
              <a:off x="-1739900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B7EDC9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3" name="Прямоугольник: скругленные углы 53">
              <a:extLst>
                <a:ext uri="{FF2B5EF4-FFF2-40B4-BE49-F238E27FC236}">
                  <a16:creationId xmlns:a16="http://schemas.microsoft.com/office/drawing/2014/main" id="{F1123F95-61C9-BC41-851F-37A4F337A429}"/>
                </a:ext>
              </a:extLst>
            </p:cNvPr>
            <p:cNvSpPr/>
            <p:nvPr/>
          </p:nvSpPr>
          <p:spPr>
            <a:xfrm>
              <a:off x="-1474837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A800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4" name="Прямоугольник: скругленные углы 54">
              <a:extLst>
                <a:ext uri="{FF2B5EF4-FFF2-40B4-BE49-F238E27FC236}">
                  <a16:creationId xmlns:a16="http://schemas.microsoft.com/office/drawing/2014/main" id="{58C05D7D-2813-064B-92D0-74BFD5806436}"/>
                </a:ext>
              </a:extLst>
            </p:cNvPr>
            <p:cNvSpPr/>
            <p:nvPr/>
          </p:nvSpPr>
          <p:spPr>
            <a:xfrm>
              <a:off x="-2004963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10C44C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7645BC9-A0BF-4D49-BE00-7DFC805081F8}"/>
                </a:ext>
              </a:extLst>
            </p:cNvPr>
            <p:cNvSpPr txBox="1"/>
            <p:nvPr/>
          </p:nvSpPr>
          <p:spPr>
            <a:xfrm>
              <a:off x="-2003446" y="4973480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900"/>
                <a:t>Рост / падение показателей</a:t>
              </a:r>
            </a:p>
          </p:txBody>
        </p:sp>
        <p:sp>
          <p:nvSpPr>
            <p:cNvPr id="76" name="Прямоугольник: скругленные углы 43">
              <a:extLst>
                <a:ext uri="{FF2B5EF4-FFF2-40B4-BE49-F238E27FC236}">
                  <a16:creationId xmlns:a16="http://schemas.microsoft.com/office/drawing/2014/main" id="{00C7E176-7354-C741-BDD2-0669745F93C1}"/>
                </a:ext>
              </a:extLst>
            </p:cNvPr>
            <p:cNvSpPr/>
            <p:nvPr/>
          </p:nvSpPr>
          <p:spPr>
            <a:xfrm>
              <a:off x="-2004963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3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Прямоугольник: скругленные углы 51">
              <a:extLst>
                <a:ext uri="{FF2B5EF4-FFF2-40B4-BE49-F238E27FC236}">
                  <a16:creationId xmlns:a16="http://schemas.microsoft.com/office/drawing/2014/main" id="{57909756-FFD4-3145-97F5-9BB79E50B758}"/>
                </a:ext>
              </a:extLst>
            </p:cNvPr>
            <p:cNvSpPr/>
            <p:nvPr/>
          </p:nvSpPr>
          <p:spPr>
            <a:xfrm>
              <a:off x="-1740264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" name="Прямоугольник: скругленные углы 56">
              <a:extLst>
                <a:ext uri="{FF2B5EF4-FFF2-40B4-BE49-F238E27FC236}">
                  <a16:creationId xmlns:a16="http://schemas.microsoft.com/office/drawing/2014/main" id="{832B66E4-B192-A743-9E98-874C0FA10087}"/>
                </a:ext>
              </a:extLst>
            </p:cNvPr>
            <p:cNvSpPr/>
            <p:nvPr/>
          </p:nvSpPr>
          <p:spPr>
            <a:xfrm>
              <a:off x="-1474837" y="4646897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Прямоугольник: скругленные углы 57">
              <a:extLst>
                <a:ext uri="{FF2B5EF4-FFF2-40B4-BE49-F238E27FC236}">
                  <a16:creationId xmlns:a16="http://schemas.microsoft.com/office/drawing/2014/main" id="{969AA322-3BB8-2846-B111-4DF55CA946C4}"/>
                </a:ext>
              </a:extLst>
            </p:cNvPr>
            <p:cNvSpPr/>
            <p:nvPr/>
          </p:nvSpPr>
          <p:spPr>
            <a:xfrm>
              <a:off x="-2131314" y="5782119"/>
              <a:ext cx="1928240" cy="1075881"/>
            </a:xfrm>
            <a:prstGeom prst="roundRect">
              <a:avLst>
                <a:gd name="adj" fmla="val 12985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7DD47492-6CB9-E24B-8BA9-E4B195881205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81" name="Рисунок 93">
              <a:extLst>
                <a:ext uri="{FF2B5EF4-FFF2-40B4-BE49-F238E27FC236}">
                  <a16:creationId xmlns:a16="http://schemas.microsoft.com/office/drawing/2014/main" id="{5FE6F21E-47B9-FB43-BE0E-68513CDA9ED8}"/>
                </a:ext>
              </a:extLst>
            </p:cNvPr>
            <p:cNvSpPr/>
            <p:nvPr/>
          </p:nvSpPr>
          <p:spPr>
            <a:xfrm>
              <a:off x="-2004963" y="5853908"/>
              <a:ext cx="161099" cy="161099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1EFEE38-AFEB-7548-87F9-5EF298944F17}"/>
                </a:ext>
              </a:extLst>
            </p:cNvPr>
            <p:cNvSpPr txBox="1"/>
            <p:nvPr userDrawn="1"/>
          </p:nvSpPr>
          <p:spPr>
            <a:xfrm>
              <a:off x="-2004962" y="6072106"/>
              <a:ext cx="1687587" cy="6002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</a:pPr>
              <a:r>
                <a:rPr lang="ru-RU" sz="900" spc="-30" baseline="0">
                  <a:solidFill>
                    <a:schemeClr val="tx2"/>
                  </a:solidFill>
                </a:rPr>
                <a:t>Если нужно больше материалов: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правое меню </a:t>
              </a:r>
              <a:r>
                <a:rPr lang="en-US" sz="900" b="1" spc="-30" baseline="0">
                  <a:solidFill>
                    <a:schemeClr val="tx2"/>
                  </a:solidFill>
                </a:rPr>
                <a:t>Staff — Brand </a:t>
              </a:r>
              <a:r>
                <a:rPr lang="ru-RU" sz="900" b="1" spc="-30" baseline="0">
                  <a:solidFill>
                    <a:schemeClr val="tx2"/>
                  </a:solidFill>
                </a:rPr>
                <a:t>— Всё для презентаций. </a:t>
              </a:r>
              <a:r>
                <a:rPr lang="ru-RU" sz="900" b="0" spc="-30" baseline="0">
                  <a:solidFill>
                    <a:schemeClr val="tx2"/>
                  </a:solidFill>
                </a:rPr>
                <a:t>Или пиши нам на </a:t>
              </a:r>
              <a:r>
                <a:rPr lang="en-US" sz="900" b="0" spc="-30" baseline="0">
                  <a:solidFill>
                    <a:schemeClr val="tx2"/>
                  </a:solidFill>
                </a:rPr>
                <a:t>presentations@ozon.ru.</a:t>
              </a:r>
              <a:r>
                <a:rPr lang="ru-RU" sz="900" b="0" spc="-30" baseline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83" name="Прямоугольник: скругленные углы 63">
              <a:extLst>
                <a:ext uri="{FF2B5EF4-FFF2-40B4-BE49-F238E27FC236}">
                  <a16:creationId xmlns:a16="http://schemas.microsoft.com/office/drawing/2014/main" id="{B096428A-BA57-714F-AE88-83D0A1C5C8CE}"/>
                </a:ext>
              </a:extLst>
            </p:cNvPr>
            <p:cNvSpPr/>
            <p:nvPr/>
          </p:nvSpPr>
          <p:spPr>
            <a:xfrm>
              <a:off x="-944711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53C14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4" name="Прямоугольник: скругленные углы 64">
              <a:extLst>
                <a:ext uri="{FF2B5EF4-FFF2-40B4-BE49-F238E27FC236}">
                  <a16:creationId xmlns:a16="http://schemas.microsoft.com/office/drawing/2014/main" id="{D8358B04-5791-8242-8695-3D6689CC1F4B}"/>
                </a:ext>
              </a:extLst>
            </p:cNvPr>
            <p:cNvSpPr/>
            <p:nvPr/>
          </p:nvSpPr>
          <p:spPr>
            <a:xfrm>
              <a:off x="-679648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CC4B8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5" name="Прямоугольник: скругленные углы 65">
              <a:extLst>
                <a:ext uri="{FF2B5EF4-FFF2-40B4-BE49-F238E27FC236}">
                  <a16:creationId xmlns:a16="http://schemas.microsoft.com/office/drawing/2014/main" id="{A9198495-B106-B445-BBF9-AAA4D713653A}"/>
                </a:ext>
              </a:extLst>
            </p:cNvPr>
            <p:cNvSpPr/>
            <p:nvPr/>
          </p:nvSpPr>
          <p:spPr>
            <a:xfrm>
              <a:off x="-1209774" y="5160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rgbClr val="FFE5B2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Прямоугольник: скругленные верхние углы 12">
              <a:extLst>
                <a:ext uri="{FF2B5EF4-FFF2-40B4-BE49-F238E27FC236}">
                  <a16:creationId xmlns:a16="http://schemas.microsoft.com/office/drawing/2014/main" id="{BB476DC2-4E90-224A-B664-9896A68CC16E}"/>
                </a:ext>
              </a:extLst>
            </p:cNvPr>
            <p:cNvSpPr/>
            <p:nvPr/>
          </p:nvSpPr>
          <p:spPr>
            <a:xfrm>
              <a:off x="-2136930" y="3070447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Цвета </a:t>
              </a:r>
              <a:r>
                <a:rPr lang="en-US" sz="1100" b="1">
                  <a:solidFill>
                    <a:schemeClr val="tx1"/>
                  </a:solidFill>
                </a:rPr>
                <a:t>Ozon</a:t>
              </a:r>
              <a:endParaRPr lang="ru-RU" sz="1100" b="1">
                <a:solidFill>
                  <a:schemeClr val="tx1"/>
                </a:solidFill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39C50795-E14E-5549-85AC-9F99FA10E81B}"/>
                </a:ext>
              </a:extLst>
            </p:cNvPr>
            <p:cNvSpPr txBox="1"/>
            <p:nvPr/>
          </p:nvSpPr>
          <p:spPr>
            <a:xfrm>
              <a:off x="-2003446" y="3412239"/>
              <a:ext cx="1638525" cy="1716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000"/>
                <a:t>Цвет текста </a:t>
              </a:r>
            </a:p>
          </p:txBody>
        </p:sp>
        <p:sp>
          <p:nvSpPr>
            <p:cNvPr id="88" name="Прямоугольник: скругленные углы 15">
              <a:extLst>
                <a:ext uri="{FF2B5EF4-FFF2-40B4-BE49-F238E27FC236}">
                  <a16:creationId xmlns:a16="http://schemas.microsoft.com/office/drawing/2014/main" id="{241AB51B-A791-DE4F-B0C0-F7C6B1020A0C}"/>
                </a:ext>
              </a:extLst>
            </p:cNvPr>
            <p:cNvSpPr/>
            <p:nvPr/>
          </p:nvSpPr>
          <p:spPr>
            <a:xfrm>
              <a:off x="-2004344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bg1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9" name="Прямоугольник: скругленные углы 16">
              <a:extLst>
                <a:ext uri="{FF2B5EF4-FFF2-40B4-BE49-F238E27FC236}">
                  <a16:creationId xmlns:a16="http://schemas.microsoft.com/office/drawing/2014/main" id="{77BEC62D-D479-B345-8CEF-1A31FEF8388B}"/>
                </a:ext>
              </a:extLst>
            </p:cNvPr>
            <p:cNvSpPr/>
            <p:nvPr/>
          </p:nvSpPr>
          <p:spPr>
            <a:xfrm>
              <a:off x="-1738339" y="3611632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6"/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B024F6F0-6699-9F47-8ED3-42B0BCFD5EBA}"/>
                </a:ext>
              </a:extLst>
            </p:cNvPr>
            <p:cNvSpPr txBox="1"/>
            <p:nvPr/>
          </p:nvSpPr>
          <p:spPr>
            <a:xfrm>
              <a:off x="-1788338" y="5868204"/>
              <a:ext cx="1155882" cy="1510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1000" b="1">
                  <a:solidFill>
                    <a:schemeClr val="accent1"/>
                  </a:solidFill>
                </a:rPr>
                <a:t>Шаблон </a:t>
              </a:r>
              <a:r>
                <a:rPr lang="en-US" sz="1000" b="1">
                  <a:solidFill>
                    <a:schemeClr val="accent1"/>
                  </a:solidFill>
                </a:rPr>
                <a:t>Ozon</a:t>
              </a:r>
              <a:endParaRPr lang="ru-RU" sz="1000" b="1">
                <a:solidFill>
                  <a:schemeClr val="accent1"/>
                </a:solidFill>
              </a:endParaRPr>
            </a:p>
          </p:txBody>
        </p:sp>
        <p:sp>
          <p:nvSpPr>
            <p:cNvPr id="91" name="Прямоугольник: скругленные углы 48">
              <a:extLst>
                <a:ext uri="{FF2B5EF4-FFF2-40B4-BE49-F238E27FC236}">
                  <a16:creationId xmlns:a16="http://schemas.microsoft.com/office/drawing/2014/main" id="{DFD2B243-C457-3449-AEBD-AAB7B16D77BC}"/>
                </a:ext>
              </a:extLst>
            </p:cNvPr>
            <p:cNvSpPr/>
            <p:nvPr userDrawn="1"/>
          </p:nvSpPr>
          <p:spPr>
            <a:xfrm>
              <a:off x="-1741352" y="4131199"/>
              <a:ext cx="216624" cy="216624"/>
            </a:xfrm>
            <a:prstGeom prst="roundRect">
              <a:avLst>
                <a:gd name="adj" fmla="val 33317"/>
              </a:avLst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7899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Read 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842F427E-A7B0-ED26-5BAD-60F49256F445}"/>
              </a:ext>
            </a:extLst>
          </p:cNvPr>
          <p:cNvSpPr/>
          <p:nvPr/>
        </p:nvSpPr>
        <p:spPr>
          <a:xfrm>
            <a:off x="8769966" y="411163"/>
            <a:ext cx="2780684" cy="3570453"/>
          </a:xfrm>
          <a:prstGeom prst="roundRect">
            <a:avLst>
              <a:gd name="adj" fmla="val 5689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0C473BD7-ACD7-EB2B-FB86-6B31E90DB1BC}"/>
              </a:ext>
            </a:extLst>
          </p:cNvPr>
          <p:cNvSpPr/>
          <p:nvPr/>
        </p:nvSpPr>
        <p:spPr>
          <a:xfrm>
            <a:off x="638969" y="1721762"/>
            <a:ext cx="3636962" cy="2552284"/>
          </a:xfrm>
          <a:prstGeom prst="roundRect">
            <a:avLst>
              <a:gd name="adj" fmla="val 536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5" name="Рисунок 7">
            <a:extLst>
              <a:ext uri="{FF2B5EF4-FFF2-40B4-BE49-F238E27FC236}">
                <a16:creationId xmlns:a16="http://schemas.microsoft.com/office/drawing/2014/main" id="{D3FB9A76-953C-033C-61F9-0AC886567100}"/>
              </a:ext>
            </a:extLst>
          </p:cNvPr>
          <p:cNvSpPr/>
          <p:nvPr/>
        </p:nvSpPr>
        <p:spPr>
          <a:xfrm>
            <a:off x="3983413" y="1943086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49C6957-2D3E-DC29-1E26-B13045C7740D}"/>
              </a:ext>
            </a:extLst>
          </p:cNvPr>
          <p:cNvSpPr txBox="1"/>
          <p:nvPr/>
        </p:nvSpPr>
        <p:spPr>
          <a:xfrm>
            <a:off x="851401" y="1908000"/>
            <a:ext cx="2741705" cy="2532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 dirty="0">
                <a:solidFill>
                  <a:schemeClr val="tx1"/>
                </a:solidFill>
              </a:rPr>
              <a:t>И шрифтом единым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217C2A-0738-0EEE-9E4D-8690A4CD65E8}"/>
              </a:ext>
            </a:extLst>
          </p:cNvPr>
          <p:cNvSpPr txBox="1"/>
          <p:nvPr/>
        </p:nvSpPr>
        <p:spPr>
          <a:xfrm>
            <a:off x="835809" y="2582400"/>
            <a:ext cx="3092566" cy="202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1200">
                <a:latin typeface="+mj-lt"/>
              </a:rPr>
              <a:t>Arial Black </a:t>
            </a:r>
            <a:r>
              <a:rPr lang="ru-RU" sz="1200" spc="-30"/>
              <a:t>— заголовки и крупные цифры</a:t>
            </a:r>
            <a:r>
              <a:rPr lang="en-US" sz="1200" spc="-30"/>
              <a:t>.</a:t>
            </a:r>
            <a:endParaRPr lang="ru-RU" sz="1200" spc="-3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00CEFE1-B494-61DA-7233-8F84B2D4A63F}"/>
              </a:ext>
            </a:extLst>
          </p:cNvPr>
          <p:cNvSpPr txBox="1"/>
          <p:nvPr/>
        </p:nvSpPr>
        <p:spPr>
          <a:xfrm>
            <a:off x="835809" y="2805095"/>
            <a:ext cx="1985972" cy="202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1200"/>
              <a:t>Arial</a:t>
            </a:r>
            <a:r>
              <a:rPr lang="ru-RU" sz="1200"/>
              <a:t> </a:t>
            </a:r>
            <a:r>
              <a:rPr lang="ru-RU" sz="1200" spc="-30"/>
              <a:t>— любой другой текст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796C81-ACEB-6FF7-3F09-50647F7191D9}"/>
              </a:ext>
            </a:extLst>
          </p:cNvPr>
          <p:cNvSpPr txBox="1"/>
          <p:nvPr/>
        </p:nvSpPr>
        <p:spPr>
          <a:xfrm>
            <a:off x="851401" y="2291808"/>
            <a:ext cx="3339825" cy="202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dirty="0"/>
              <a:t>Настроили универсальные шрифты.*</a:t>
            </a:r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6104178C-EF19-C749-314C-B1E58E8E5C6D}"/>
              </a:ext>
            </a:extLst>
          </p:cNvPr>
          <p:cNvSpPr/>
          <p:nvPr/>
        </p:nvSpPr>
        <p:spPr>
          <a:xfrm>
            <a:off x="1023002" y="3108184"/>
            <a:ext cx="728387" cy="570495"/>
          </a:xfrm>
          <a:prstGeom prst="roundRect">
            <a:avLst>
              <a:gd name="adj" fmla="val 8253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900">
              <a:solidFill>
                <a:schemeClr val="tx2"/>
              </a:solidFill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3F3BD349-C9D0-48CC-C2A2-95B33D646EDF}"/>
              </a:ext>
            </a:extLst>
          </p:cNvPr>
          <p:cNvSpPr/>
          <p:nvPr/>
        </p:nvSpPr>
        <p:spPr>
          <a:xfrm>
            <a:off x="835809" y="3108185"/>
            <a:ext cx="147470" cy="242152"/>
          </a:xfrm>
          <a:prstGeom prst="roundRect">
            <a:avLst>
              <a:gd name="adj" fmla="val 2024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30B6D2-C461-1492-330C-20FD7AE1013F}"/>
              </a:ext>
            </a:extLst>
          </p:cNvPr>
          <p:cNvSpPr txBox="1"/>
          <p:nvPr/>
        </p:nvSpPr>
        <p:spPr>
          <a:xfrm>
            <a:off x="1844353" y="3115599"/>
            <a:ext cx="2235410" cy="54717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spc="-30"/>
              <a:t>Слева от слайда добавили подсказки по подбору размера текста в разных ситуациях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11821C8-FA09-F9AC-8D01-112C77DF8540}"/>
              </a:ext>
            </a:extLst>
          </p:cNvPr>
          <p:cNvSpPr txBox="1"/>
          <p:nvPr/>
        </p:nvSpPr>
        <p:spPr>
          <a:xfrm>
            <a:off x="851401" y="3789831"/>
            <a:ext cx="2916590" cy="334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000">
                <a:solidFill>
                  <a:schemeClr val="accent6">
                    <a:lumMod val="75000"/>
                  </a:schemeClr>
                </a:solidFill>
              </a:rPr>
              <a:t>* По правилам бренда фирменный шрифт </a:t>
            </a:r>
            <a:r>
              <a:rPr lang="en-US" sz="1000">
                <a:solidFill>
                  <a:schemeClr val="accent6">
                    <a:lumMod val="75000"/>
                  </a:schemeClr>
                </a:solidFill>
              </a:rPr>
              <a:t>Ozon GT </a:t>
            </a:r>
            <a:r>
              <a:rPr lang="en-US" sz="1000" err="1">
                <a:solidFill>
                  <a:schemeClr val="accent6">
                    <a:lumMod val="75000"/>
                  </a:schemeClr>
                </a:solidFill>
              </a:rPr>
              <a:t>Eesti</a:t>
            </a:r>
            <a:r>
              <a:rPr lang="en-US" sz="100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sz="1000">
                <a:solidFill>
                  <a:schemeClr val="accent6">
                    <a:lumMod val="75000"/>
                  </a:schemeClr>
                </a:solidFill>
              </a:rPr>
              <a:t>в презентациях не используется.</a:t>
            </a:r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C4AD015F-EE11-7D88-0C79-B09991610136}"/>
              </a:ext>
            </a:extLst>
          </p:cNvPr>
          <p:cNvSpPr/>
          <p:nvPr/>
        </p:nvSpPr>
        <p:spPr>
          <a:xfrm>
            <a:off x="639763" y="4535412"/>
            <a:ext cx="3636962" cy="1734939"/>
          </a:xfrm>
          <a:prstGeom prst="roundRect">
            <a:avLst>
              <a:gd name="adj" fmla="val 1039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15" name="Рисунок 7">
            <a:extLst>
              <a:ext uri="{FF2B5EF4-FFF2-40B4-BE49-F238E27FC236}">
                <a16:creationId xmlns:a16="http://schemas.microsoft.com/office/drawing/2014/main" id="{FA43BDE8-D7A0-0C27-C6CD-029C50B868D5}"/>
              </a:ext>
            </a:extLst>
          </p:cNvPr>
          <p:cNvSpPr/>
          <p:nvPr/>
        </p:nvSpPr>
        <p:spPr>
          <a:xfrm>
            <a:off x="3984207" y="4656592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30F08A5-A097-D2DF-E5ED-50245BA1511D}"/>
              </a:ext>
            </a:extLst>
          </p:cNvPr>
          <p:cNvSpPr txBox="1"/>
          <p:nvPr/>
        </p:nvSpPr>
        <p:spPr>
          <a:xfrm>
            <a:off x="852195" y="4682793"/>
            <a:ext cx="2741705" cy="2532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>
                <a:solidFill>
                  <a:schemeClr val="accent1"/>
                </a:solidFill>
              </a:rPr>
              <a:t>Классные таблицы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3B8DA76D-193B-C485-5922-0905FBE36CC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7406" y="5041239"/>
            <a:ext cx="1336787" cy="596097"/>
          </a:xfrm>
          <a:prstGeom prst="roundRect">
            <a:avLst>
              <a:gd name="adj" fmla="val 8135"/>
            </a:avLst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6016BEF-43F4-C513-6E8D-2D3F43E850C9}"/>
              </a:ext>
            </a:extLst>
          </p:cNvPr>
          <p:cNvSpPr txBox="1"/>
          <p:nvPr/>
        </p:nvSpPr>
        <p:spPr>
          <a:xfrm>
            <a:off x="2310490" y="5041239"/>
            <a:ext cx="1737427" cy="8206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spc="-30"/>
              <a:t>Настроили специальный стиль для работы </a:t>
            </a:r>
            <a:br>
              <a:rPr lang="ru-RU" sz="1200" spc="-30"/>
            </a:br>
            <a:r>
              <a:rPr lang="ru-RU" sz="1200" spc="-30"/>
              <a:t>с таблицами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A59D513-03D7-E112-73C4-AEF053F1B8A3}"/>
              </a:ext>
            </a:extLst>
          </p:cNvPr>
          <p:cNvSpPr txBox="1"/>
          <p:nvPr/>
        </p:nvSpPr>
        <p:spPr>
          <a:xfrm>
            <a:off x="852195" y="5727560"/>
            <a:ext cx="3277239" cy="404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/>
              <a:t>Настраивай вид таблицы в несколько кликов в разделе «Конструктор таблиц»</a:t>
            </a: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D17B9CA6-6150-A43F-D409-1A3029BF4C87}"/>
              </a:ext>
            </a:extLst>
          </p:cNvPr>
          <p:cNvSpPr/>
          <p:nvPr/>
        </p:nvSpPr>
        <p:spPr>
          <a:xfrm>
            <a:off x="835809" y="3382445"/>
            <a:ext cx="147470" cy="173301"/>
          </a:xfrm>
          <a:prstGeom prst="roundRect">
            <a:avLst>
              <a:gd name="adj" fmla="val 1886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E0C63BED-38C1-7FE4-2365-63A32A9AAC60}"/>
              </a:ext>
            </a:extLst>
          </p:cNvPr>
          <p:cNvSpPr/>
          <p:nvPr/>
        </p:nvSpPr>
        <p:spPr>
          <a:xfrm>
            <a:off x="835809" y="3587854"/>
            <a:ext cx="147470" cy="99462"/>
          </a:xfrm>
          <a:prstGeom prst="roundRect">
            <a:avLst>
              <a:gd name="adj" fmla="val 2991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24" name="Прямоугольник: скругленные углы 23">
            <a:extLst>
              <a:ext uri="{FF2B5EF4-FFF2-40B4-BE49-F238E27FC236}">
                <a16:creationId xmlns:a16="http://schemas.microsoft.com/office/drawing/2014/main" id="{DB56BD41-1107-8D34-A153-D854D92E8037}"/>
              </a:ext>
            </a:extLst>
          </p:cNvPr>
          <p:cNvSpPr/>
          <p:nvPr/>
        </p:nvSpPr>
        <p:spPr>
          <a:xfrm>
            <a:off x="4542838" y="411163"/>
            <a:ext cx="3961015" cy="5851525"/>
          </a:xfrm>
          <a:prstGeom prst="roundRect">
            <a:avLst>
              <a:gd name="adj" fmla="val 5112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25" name="Рисунок 7">
            <a:extLst>
              <a:ext uri="{FF2B5EF4-FFF2-40B4-BE49-F238E27FC236}">
                <a16:creationId xmlns:a16="http://schemas.microsoft.com/office/drawing/2014/main" id="{BE35B28F-D3E3-8C7F-F57E-6C61167D7222}"/>
              </a:ext>
            </a:extLst>
          </p:cNvPr>
          <p:cNvSpPr/>
          <p:nvPr/>
        </p:nvSpPr>
        <p:spPr>
          <a:xfrm>
            <a:off x="8208625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7" name="Рисунок 7">
            <a:extLst>
              <a:ext uri="{FF2B5EF4-FFF2-40B4-BE49-F238E27FC236}">
                <a16:creationId xmlns:a16="http://schemas.microsoft.com/office/drawing/2014/main" id="{3FB86F63-95B4-8D2E-1A9A-F785D45CAB4B}"/>
              </a:ext>
            </a:extLst>
          </p:cNvPr>
          <p:cNvSpPr/>
          <p:nvPr/>
        </p:nvSpPr>
        <p:spPr>
          <a:xfrm>
            <a:off x="11248712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AFB31A0-09C1-9043-1A77-84FD4D90313B}"/>
              </a:ext>
            </a:extLst>
          </p:cNvPr>
          <p:cNvSpPr txBox="1"/>
          <p:nvPr/>
        </p:nvSpPr>
        <p:spPr>
          <a:xfrm>
            <a:off x="8972687" y="587649"/>
            <a:ext cx="2421252" cy="3244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 dirty="0">
                <a:solidFill>
                  <a:schemeClr val="tx1"/>
                </a:solidFill>
              </a:rPr>
              <a:t>Всё будет ровно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5E12F67-07D8-7040-A6DE-E851CCEA0DC7}"/>
              </a:ext>
            </a:extLst>
          </p:cNvPr>
          <p:cNvSpPr txBox="1"/>
          <p:nvPr/>
        </p:nvSpPr>
        <p:spPr>
          <a:xfrm>
            <a:off x="8972688" y="927055"/>
            <a:ext cx="2383504" cy="10911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/>
              <a:t>Чтобы тебе было проще выравнивать контент</a:t>
            </a:r>
            <a:r>
              <a:rPr lang="en-US" sz="1200"/>
              <a:t>,</a:t>
            </a:r>
            <a:r>
              <a:rPr lang="ru-RU" sz="1200"/>
              <a:t> в шаблоне настроены направляющие. Включи их, нажав Alt+F9 </a:t>
            </a:r>
            <a:br>
              <a:rPr lang="ru-RU" sz="1200"/>
            </a:br>
            <a:r>
              <a:rPr lang="ru-RU" sz="1200"/>
              <a:t>или через вкладку «Вид» — «Направляющие»</a:t>
            </a:r>
            <a:r>
              <a:rPr lang="en-US" sz="1200"/>
              <a:t>.</a:t>
            </a:r>
            <a:r>
              <a:rPr lang="ru-RU" sz="1200"/>
              <a:t>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116D428-F5AA-A1D9-F109-4424B5FEEFC6}"/>
              </a:ext>
            </a:extLst>
          </p:cNvPr>
          <p:cNvSpPr txBox="1"/>
          <p:nvPr/>
        </p:nvSpPr>
        <p:spPr>
          <a:xfrm>
            <a:off x="9199437" y="2109168"/>
            <a:ext cx="1708894" cy="16196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400"/>
              </a:spcAft>
            </a:pPr>
            <a:r>
              <a:rPr lang="ru-RU" sz="1200"/>
              <a:t>Красными линиями обозначены границы слайда. Не размещай контент за их пределами. </a:t>
            </a:r>
          </a:p>
          <a:p>
            <a:pPr>
              <a:spcAft>
                <a:spcPts val="400"/>
              </a:spcAft>
            </a:pPr>
            <a:r>
              <a:rPr lang="ru-RU" sz="1200"/>
              <a:t>По серым линиям можно выравнивать контент внутри слайда.</a:t>
            </a:r>
          </a:p>
          <a:p>
            <a:pPr algn="l">
              <a:spcAft>
                <a:spcPts val="400"/>
              </a:spcAft>
            </a:pPr>
            <a:endParaRPr lang="ru-RU" sz="1400"/>
          </a:p>
        </p:txBody>
      </p:sp>
      <p:sp>
        <p:nvSpPr>
          <p:cNvPr id="53" name="Прямоугольник: скругленные углы 52">
            <a:extLst>
              <a:ext uri="{FF2B5EF4-FFF2-40B4-BE49-F238E27FC236}">
                <a16:creationId xmlns:a16="http://schemas.microsoft.com/office/drawing/2014/main" id="{09360FA4-F8F2-B1A6-D90C-CE0095F5B7F6}"/>
              </a:ext>
            </a:extLst>
          </p:cNvPr>
          <p:cNvSpPr/>
          <p:nvPr/>
        </p:nvSpPr>
        <p:spPr>
          <a:xfrm>
            <a:off x="8769965" y="4247728"/>
            <a:ext cx="2782273" cy="2022623"/>
          </a:xfrm>
          <a:prstGeom prst="roundRect">
            <a:avLst>
              <a:gd name="adj" fmla="val 1039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54" name="Рисунок 7">
            <a:extLst>
              <a:ext uri="{FF2B5EF4-FFF2-40B4-BE49-F238E27FC236}">
                <a16:creationId xmlns:a16="http://schemas.microsoft.com/office/drawing/2014/main" id="{F0DB6D7E-CA8B-946C-BADB-B831EA01BE74}"/>
              </a:ext>
            </a:extLst>
          </p:cNvPr>
          <p:cNvSpPr/>
          <p:nvPr/>
        </p:nvSpPr>
        <p:spPr>
          <a:xfrm>
            <a:off x="11259721" y="4368825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6102E31-758C-204D-1505-E97C6AAE6F58}"/>
              </a:ext>
            </a:extLst>
          </p:cNvPr>
          <p:cNvSpPr txBox="1"/>
          <p:nvPr/>
        </p:nvSpPr>
        <p:spPr>
          <a:xfrm>
            <a:off x="9596651" y="4400331"/>
            <a:ext cx="1809961" cy="4202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85000"/>
              </a:lnSpc>
            </a:pPr>
            <a:r>
              <a:rPr lang="ru-RU" b="1" dirty="0">
                <a:solidFill>
                  <a:schemeClr val="accent2"/>
                </a:solidFill>
              </a:rPr>
              <a:t>Нужна </a:t>
            </a:r>
          </a:p>
          <a:p>
            <a:pPr algn="l">
              <a:lnSpc>
                <a:spcPct val="85000"/>
              </a:lnSpc>
            </a:pPr>
            <a:r>
              <a:rPr lang="ru-RU" b="1" dirty="0">
                <a:solidFill>
                  <a:schemeClr val="accent2"/>
                </a:solidFill>
              </a:rPr>
              <a:t>поддержка?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8BF44CC-6485-312F-FA38-3DBA3F0D15E3}"/>
              </a:ext>
            </a:extLst>
          </p:cNvPr>
          <p:cNvSpPr txBox="1"/>
          <p:nvPr/>
        </p:nvSpPr>
        <p:spPr>
          <a:xfrm>
            <a:off x="8972688" y="4956676"/>
            <a:ext cx="2383504" cy="10911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>
                <a:solidFill>
                  <a:schemeClr val="bg1"/>
                </a:solidFill>
              </a:rPr>
              <a:t>Заходи на нашу страницу через </a:t>
            </a:r>
            <a:r>
              <a:rPr lang="en-US" sz="1200">
                <a:solidFill>
                  <a:schemeClr val="bg1"/>
                </a:solidFill>
              </a:rPr>
              <a:t>Staff </a:t>
            </a:r>
            <a:r>
              <a:rPr lang="ru-RU" sz="1200">
                <a:solidFill>
                  <a:schemeClr val="bg1"/>
                </a:solidFill>
              </a:rPr>
              <a:t>—  </a:t>
            </a:r>
            <a:r>
              <a:rPr lang="en-US" sz="1200">
                <a:solidFill>
                  <a:schemeClr val="bg1"/>
                </a:solidFill>
              </a:rPr>
              <a:t>Brand Ozon </a:t>
            </a:r>
            <a:r>
              <a:rPr lang="ru-RU" sz="1200">
                <a:solidFill>
                  <a:schemeClr val="bg1"/>
                </a:solidFill>
              </a:rPr>
              <a:t>— Всё для презентаций</a:t>
            </a:r>
            <a:r>
              <a:rPr lang="en-US" sz="1200">
                <a:solidFill>
                  <a:schemeClr val="bg1"/>
                </a:solidFill>
              </a:rPr>
              <a:t>. </a:t>
            </a:r>
            <a:r>
              <a:rPr lang="ru-RU" sz="1200">
                <a:solidFill>
                  <a:schemeClr val="bg1"/>
                </a:solidFill>
              </a:rPr>
              <a:t>Там можно скачать дополнительные материалы </a:t>
            </a:r>
            <a:br>
              <a:rPr lang="ru-RU" sz="1200">
                <a:solidFill>
                  <a:schemeClr val="bg1"/>
                </a:solidFill>
              </a:rPr>
            </a:br>
            <a:r>
              <a:rPr lang="ru-RU" sz="1200">
                <a:solidFill>
                  <a:schemeClr val="bg1"/>
                </a:solidFill>
              </a:rPr>
              <a:t>или записаться на консультацию. </a:t>
            </a:r>
          </a:p>
          <a:p>
            <a:pPr algn="l"/>
            <a:r>
              <a:rPr lang="ru-RU" sz="1200">
                <a:solidFill>
                  <a:schemeClr val="bg1"/>
                </a:solidFill>
              </a:rPr>
              <a:t>Результативных презентаций!</a:t>
            </a:r>
          </a:p>
        </p:txBody>
      </p:sp>
      <p:sp>
        <p:nvSpPr>
          <p:cNvPr id="59" name="Прямоугольник: скругленные углы 58">
            <a:extLst>
              <a:ext uri="{FF2B5EF4-FFF2-40B4-BE49-F238E27FC236}">
                <a16:creationId xmlns:a16="http://schemas.microsoft.com/office/drawing/2014/main" id="{F0D66FEF-47C6-AB0A-D089-59CF7BFB6471}"/>
              </a:ext>
            </a:extLst>
          </p:cNvPr>
          <p:cNvSpPr/>
          <p:nvPr/>
        </p:nvSpPr>
        <p:spPr>
          <a:xfrm>
            <a:off x="639763" y="411163"/>
            <a:ext cx="3636962" cy="1049233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FC5D6F7-0828-909F-707A-FC316B32BAFB}"/>
              </a:ext>
            </a:extLst>
          </p:cNvPr>
          <p:cNvSpPr txBox="1"/>
          <p:nvPr/>
        </p:nvSpPr>
        <p:spPr>
          <a:xfrm>
            <a:off x="1614616" y="530912"/>
            <a:ext cx="2722578" cy="879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Aft>
                <a:spcPts val="600"/>
              </a:spcAft>
            </a:pPr>
            <a:r>
              <a:rPr lang="ru-RU" sz="1200" b="1" dirty="0">
                <a:solidFill>
                  <a:schemeClr val="bg1"/>
                </a:solidFill>
              </a:rPr>
              <a:t>Ты вовремя! 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ru-RU" sz="1200" b="1" dirty="0">
                <a:solidFill>
                  <a:schemeClr val="bg1"/>
                </a:solidFill>
              </a:rPr>
              <a:t>Сейчас расскажу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ru-RU" sz="1200" b="1" dirty="0">
                <a:solidFill>
                  <a:schemeClr val="bg1"/>
                </a:solidFill>
              </a:rPr>
              <a:t>про шаблон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dirty="0">
                <a:solidFill>
                  <a:schemeClr val="bg1"/>
                </a:solidFill>
              </a:rPr>
              <a:t>            </a:t>
            </a:r>
            <a:r>
              <a:rPr lang="en-US" sz="1200" b="1" dirty="0">
                <a:solidFill>
                  <a:schemeClr val="bg1"/>
                </a:solidFill>
              </a:rPr>
              <a:t>      </a:t>
            </a:r>
            <a:r>
              <a:rPr lang="ru-RU" sz="1200" b="1" dirty="0">
                <a:solidFill>
                  <a:schemeClr val="bg1"/>
                </a:solidFill>
              </a:rPr>
              <a:t>   презентаций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bg1"/>
                </a:solidFill>
              </a:rPr>
              <a:t>                  </a:t>
            </a:r>
            <a:r>
              <a:rPr lang="ru-RU" sz="1200" b="1" dirty="0">
                <a:solidFill>
                  <a:schemeClr val="bg1"/>
                </a:solidFill>
              </a:rPr>
              <a:t>   </a:t>
            </a:r>
            <a:r>
              <a:rPr lang="ru-RU" sz="1200" b="1" dirty="0" err="1">
                <a:solidFill>
                  <a:schemeClr val="bg1"/>
                </a:solidFill>
              </a:rPr>
              <a:t>Ozon</a:t>
            </a:r>
            <a:r>
              <a:rPr lang="ru-RU" sz="1200" b="1" dirty="0">
                <a:solidFill>
                  <a:schemeClr val="bg1"/>
                </a:solidFill>
              </a:rPr>
              <a:t> </a:t>
            </a:r>
            <a:r>
              <a:rPr lang="en-US" sz="1200" b="1" dirty="0">
                <a:solidFill>
                  <a:schemeClr val="bg1"/>
                </a:solidFill>
              </a:rPr>
              <a:t>Tech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23" name="Рисунок 7">
            <a:extLst>
              <a:ext uri="{FF2B5EF4-FFF2-40B4-BE49-F238E27FC236}">
                <a16:creationId xmlns:a16="http://schemas.microsoft.com/office/drawing/2014/main" id="{1EE27734-862A-F6AE-44D8-CEBEED0269DA}"/>
              </a:ext>
            </a:extLst>
          </p:cNvPr>
          <p:cNvSpPr/>
          <p:nvPr userDrawn="1"/>
        </p:nvSpPr>
        <p:spPr>
          <a:xfrm>
            <a:off x="3983413" y="1943086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5" name="Прямоугольник: скругленные углы 64">
            <a:extLst>
              <a:ext uri="{FF2B5EF4-FFF2-40B4-BE49-F238E27FC236}">
                <a16:creationId xmlns:a16="http://schemas.microsoft.com/office/drawing/2014/main" id="{DDA1F3F9-A479-B8F3-23B0-F2EACC0A4F89}"/>
              </a:ext>
            </a:extLst>
          </p:cNvPr>
          <p:cNvSpPr/>
          <p:nvPr userDrawn="1"/>
        </p:nvSpPr>
        <p:spPr>
          <a:xfrm>
            <a:off x="1023002" y="3108184"/>
            <a:ext cx="728387" cy="570495"/>
          </a:xfrm>
          <a:prstGeom prst="roundRect">
            <a:avLst>
              <a:gd name="adj" fmla="val 8253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900">
              <a:solidFill>
                <a:schemeClr val="tx2"/>
              </a:solidFill>
            </a:endParaRPr>
          </a:p>
        </p:txBody>
      </p:sp>
      <p:sp>
        <p:nvSpPr>
          <p:cNvPr id="66" name="Прямоугольник: скругленные углы 65">
            <a:extLst>
              <a:ext uri="{FF2B5EF4-FFF2-40B4-BE49-F238E27FC236}">
                <a16:creationId xmlns:a16="http://schemas.microsoft.com/office/drawing/2014/main" id="{CB21CD65-F986-7C6D-2086-B846D95DC8EB}"/>
              </a:ext>
            </a:extLst>
          </p:cNvPr>
          <p:cNvSpPr/>
          <p:nvPr userDrawn="1"/>
        </p:nvSpPr>
        <p:spPr>
          <a:xfrm>
            <a:off x="835809" y="3108185"/>
            <a:ext cx="147470" cy="242152"/>
          </a:xfrm>
          <a:prstGeom prst="roundRect">
            <a:avLst>
              <a:gd name="adj" fmla="val 2024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69" name="Прямоугольник: скругленные углы 68">
            <a:extLst>
              <a:ext uri="{FF2B5EF4-FFF2-40B4-BE49-F238E27FC236}">
                <a16:creationId xmlns:a16="http://schemas.microsoft.com/office/drawing/2014/main" id="{21C57030-9375-A53F-9B9B-1BD595DB4BC0}"/>
              </a:ext>
            </a:extLst>
          </p:cNvPr>
          <p:cNvSpPr/>
          <p:nvPr userDrawn="1"/>
        </p:nvSpPr>
        <p:spPr>
          <a:xfrm>
            <a:off x="639763" y="4535412"/>
            <a:ext cx="3636962" cy="1734939"/>
          </a:xfrm>
          <a:prstGeom prst="roundRect">
            <a:avLst>
              <a:gd name="adj" fmla="val 1039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70" name="Рисунок 7">
            <a:extLst>
              <a:ext uri="{FF2B5EF4-FFF2-40B4-BE49-F238E27FC236}">
                <a16:creationId xmlns:a16="http://schemas.microsoft.com/office/drawing/2014/main" id="{F2B7419B-60EF-5C59-E6F9-B644857AC378}"/>
              </a:ext>
            </a:extLst>
          </p:cNvPr>
          <p:cNvSpPr/>
          <p:nvPr userDrawn="1"/>
        </p:nvSpPr>
        <p:spPr>
          <a:xfrm>
            <a:off x="3984207" y="4656592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8E9C7D4-7F19-AC51-33F9-D8BBCA267888}"/>
              </a:ext>
            </a:extLst>
          </p:cNvPr>
          <p:cNvSpPr txBox="1"/>
          <p:nvPr userDrawn="1"/>
        </p:nvSpPr>
        <p:spPr>
          <a:xfrm>
            <a:off x="852195" y="4682793"/>
            <a:ext cx="2741705" cy="2532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>
                <a:solidFill>
                  <a:schemeClr val="tx1"/>
                </a:solidFill>
              </a:rPr>
              <a:t>Таблицы на стиле</a:t>
            </a:r>
          </a:p>
        </p:txBody>
      </p:sp>
      <p:pic>
        <p:nvPicPr>
          <p:cNvPr id="72" name="Рисунок 71">
            <a:extLst>
              <a:ext uri="{FF2B5EF4-FFF2-40B4-BE49-F238E27FC236}">
                <a16:creationId xmlns:a16="http://schemas.microsoft.com/office/drawing/2014/main" id="{839CAEAD-5A29-77AC-24B1-9B23EA722D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7406" y="5041239"/>
            <a:ext cx="1336787" cy="596097"/>
          </a:xfrm>
          <a:prstGeom prst="roundRect">
            <a:avLst>
              <a:gd name="adj" fmla="val 8135"/>
            </a:avLst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668AA1F6-2C48-284A-413B-4F3F92A6F793}"/>
              </a:ext>
            </a:extLst>
          </p:cNvPr>
          <p:cNvSpPr txBox="1"/>
          <p:nvPr userDrawn="1"/>
        </p:nvSpPr>
        <p:spPr>
          <a:xfrm>
            <a:off x="2310490" y="5041239"/>
            <a:ext cx="1737427" cy="8206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spc="-30" dirty="0"/>
              <a:t>Настроили специальный стиль для работы </a:t>
            </a:r>
            <a:br>
              <a:rPr lang="ru-RU" sz="1200" spc="-30" dirty="0"/>
            </a:br>
            <a:r>
              <a:rPr lang="ru-RU" sz="1200" spc="-30" dirty="0"/>
              <a:t>с таблицами.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E8D18C9-F6FE-2916-B3E7-94839200DFEB}"/>
              </a:ext>
            </a:extLst>
          </p:cNvPr>
          <p:cNvSpPr txBox="1"/>
          <p:nvPr userDrawn="1"/>
        </p:nvSpPr>
        <p:spPr>
          <a:xfrm>
            <a:off x="852195" y="5727560"/>
            <a:ext cx="3277239" cy="4041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ru-RU" sz="1200" dirty="0"/>
              <a:t>Настраивай вид таблицы в несколько кликов в разделе «Конструктор таблиц».</a:t>
            </a:r>
          </a:p>
        </p:txBody>
      </p:sp>
      <p:sp>
        <p:nvSpPr>
          <p:cNvPr id="75" name="Прямоугольник: скругленные углы 74">
            <a:extLst>
              <a:ext uri="{FF2B5EF4-FFF2-40B4-BE49-F238E27FC236}">
                <a16:creationId xmlns:a16="http://schemas.microsoft.com/office/drawing/2014/main" id="{4229081F-D723-2FAA-3892-E9FC912BF1F8}"/>
              </a:ext>
            </a:extLst>
          </p:cNvPr>
          <p:cNvSpPr/>
          <p:nvPr userDrawn="1"/>
        </p:nvSpPr>
        <p:spPr>
          <a:xfrm>
            <a:off x="835809" y="3382445"/>
            <a:ext cx="147470" cy="173301"/>
          </a:xfrm>
          <a:prstGeom prst="roundRect">
            <a:avLst>
              <a:gd name="adj" fmla="val 1886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76" name="Прямоугольник: скругленные углы 75">
            <a:extLst>
              <a:ext uri="{FF2B5EF4-FFF2-40B4-BE49-F238E27FC236}">
                <a16:creationId xmlns:a16="http://schemas.microsoft.com/office/drawing/2014/main" id="{96C9CBD6-99B5-BB03-C015-6A5DEA4AD943}"/>
              </a:ext>
            </a:extLst>
          </p:cNvPr>
          <p:cNvSpPr/>
          <p:nvPr userDrawn="1"/>
        </p:nvSpPr>
        <p:spPr>
          <a:xfrm>
            <a:off x="835809" y="3587854"/>
            <a:ext cx="147470" cy="99462"/>
          </a:xfrm>
          <a:prstGeom prst="roundRect">
            <a:avLst>
              <a:gd name="adj" fmla="val 2991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err="1"/>
          </a:p>
        </p:txBody>
      </p:sp>
      <p:sp>
        <p:nvSpPr>
          <p:cNvPr id="78" name="Рисунок 7">
            <a:extLst>
              <a:ext uri="{FF2B5EF4-FFF2-40B4-BE49-F238E27FC236}">
                <a16:creationId xmlns:a16="http://schemas.microsoft.com/office/drawing/2014/main" id="{F05551BF-F822-F259-F28D-A7BF32D70259}"/>
              </a:ext>
            </a:extLst>
          </p:cNvPr>
          <p:cNvSpPr/>
          <p:nvPr userDrawn="1"/>
        </p:nvSpPr>
        <p:spPr>
          <a:xfrm>
            <a:off x="8208625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0" name="Рисунок 7">
            <a:extLst>
              <a:ext uri="{FF2B5EF4-FFF2-40B4-BE49-F238E27FC236}">
                <a16:creationId xmlns:a16="http://schemas.microsoft.com/office/drawing/2014/main" id="{BF8EACDE-C000-C872-7DD4-D2D6912EA863}"/>
              </a:ext>
            </a:extLst>
          </p:cNvPr>
          <p:cNvSpPr/>
          <p:nvPr userDrawn="1"/>
        </p:nvSpPr>
        <p:spPr>
          <a:xfrm>
            <a:off x="11248712" y="534179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03" name="Рисунок 102">
            <a:extLst>
              <a:ext uri="{FF2B5EF4-FFF2-40B4-BE49-F238E27FC236}">
                <a16:creationId xmlns:a16="http://schemas.microsoft.com/office/drawing/2014/main" id="{0F92B201-50C1-310E-C726-28247CA7DC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687" y="2117100"/>
            <a:ext cx="166759" cy="166759"/>
          </a:xfrm>
          <a:prstGeom prst="rect">
            <a:avLst/>
          </a:prstGeom>
        </p:spPr>
      </p:pic>
      <p:pic>
        <p:nvPicPr>
          <p:cNvPr id="104" name="Рисунок 103">
            <a:extLst>
              <a:ext uri="{FF2B5EF4-FFF2-40B4-BE49-F238E27FC236}">
                <a16:creationId xmlns:a16="http://schemas.microsoft.com/office/drawing/2014/main" id="{19E94223-E790-58A9-6376-F634F65BD8B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687" y="3092518"/>
            <a:ext cx="166759" cy="166759"/>
          </a:xfrm>
          <a:prstGeom prst="rect">
            <a:avLst/>
          </a:prstGeom>
        </p:spPr>
      </p:pic>
      <p:sp>
        <p:nvSpPr>
          <p:cNvPr id="107" name="Рисунок 7">
            <a:extLst>
              <a:ext uri="{FF2B5EF4-FFF2-40B4-BE49-F238E27FC236}">
                <a16:creationId xmlns:a16="http://schemas.microsoft.com/office/drawing/2014/main" id="{BDCE8111-42D6-40F9-4114-0169203FB13D}"/>
              </a:ext>
            </a:extLst>
          </p:cNvPr>
          <p:cNvSpPr/>
          <p:nvPr userDrawn="1"/>
        </p:nvSpPr>
        <p:spPr>
          <a:xfrm>
            <a:off x="11259721" y="4368825"/>
            <a:ext cx="145227" cy="145227"/>
          </a:xfrm>
          <a:custGeom>
            <a:avLst/>
            <a:gdLst>
              <a:gd name="connsiteX0" fmla="*/ 77217 w 152401"/>
              <a:gd name="connsiteY0" fmla="*/ 22562 h 152401"/>
              <a:gd name="connsiteX1" fmla="*/ 92075 w 152401"/>
              <a:gd name="connsiteY1" fmla="*/ 7 h 152401"/>
              <a:gd name="connsiteX2" fmla="*/ 133350 w 152401"/>
              <a:gd name="connsiteY2" fmla="*/ 19051 h 152401"/>
              <a:gd name="connsiteX3" fmla="*/ 152394 w 152401"/>
              <a:gd name="connsiteY3" fmla="*/ 60327 h 152401"/>
              <a:gd name="connsiteX4" fmla="*/ 129839 w 152401"/>
              <a:gd name="connsiteY4" fmla="*/ 75185 h 152401"/>
              <a:gd name="connsiteX5" fmla="*/ 104775 w 152401"/>
              <a:gd name="connsiteY5" fmla="*/ 85726 h 152401"/>
              <a:gd name="connsiteX6" fmla="*/ 95250 w 152401"/>
              <a:gd name="connsiteY6" fmla="*/ 114301 h 152401"/>
              <a:gd name="connsiteX7" fmla="*/ 79661 w 152401"/>
              <a:gd name="connsiteY7" fmla="*/ 142876 h 152401"/>
              <a:gd name="connsiteX8" fmla="*/ 45652 w 152401"/>
              <a:gd name="connsiteY8" fmla="*/ 120220 h 152401"/>
              <a:gd name="connsiteX9" fmla="*/ 16260 w 152401"/>
              <a:gd name="connsiteY9" fmla="*/ 149611 h 152401"/>
              <a:gd name="connsiteX10" fmla="*/ 2790 w 152401"/>
              <a:gd name="connsiteY10" fmla="*/ 149611 h 152401"/>
              <a:gd name="connsiteX11" fmla="*/ 2790 w 152401"/>
              <a:gd name="connsiteY11" fmla="*/ 136141 h 152401"/>
              <a:gd name="connsiteX12" fmla="*/ 32181 w 152401"/>
              <a:gd name="connsiteY12" fmla="*/ 106750 h 152401"/>
              <a:gd name="connsiteX13" fmla="*/ 9525 w 152401"/>
              <a:gd name="connsiteY13" fmla="*/ 72740 h 152401"/>
              <a:gd name="connsiteX14" fmla="*/ 38100 w 152401"/>
              <a:gd name="connsiteY14" fmla="*/ 57151 h 152401"/>
              <a:gd name="connsiteX15" fmla="*/ 66675 w 152401"/>
              <a:gd name="connsiteY15" fmla="*/ 47626 h 152401"/>
              <a:gd name="connsiteX16" fmla="*/ 77217 w 152401"/>
              <a:gd name="connsiteY16" fmla="*/ 22562 h 15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2401" h="152401">
                <a:moveTo>
                  <a:pt x="77217" y="22562"/>
                </a:moveTo>
                <a:cubicBezTo>
                  <a:pt x="78455" y="11424"/>
                  <a:pt x="79696" y="259"/>
                  <a:pt x="92075" y="7"/>
                </a:cubicBezTo>
                <a:cubicBezTo>
                  <a:pt x="105589" y="-267"/>
                  <a:pt x="121580" y="7281"/>
                  <a:pt x="133350" y="19051"/>
                </a:cubicBezTo>
                <a:cubicBezTo>
                  <a:pt x="145120" y="30821"/>
                  <a:pt x="152669" y="46812"/>
                  <a:pt x="152394" y="60327"/>
                </a:cubicBezTo>
                <a:cubicBezTo>
                  <a:pt x="152143" y="72705"/>
                  <a:pt x="140978" y="73947"/>
                  <a:pt x="129839" y="75185"/>
                </a:cubicBezTo>
                <a:cubicBezTo>
                  <a:pt x="119294" y="76356"/>
                  <a:pt x="112095" y="78457"/>
                  <a:pt x="104775" y="85726"/>
                </a:cubicBezTo>
                <a:cubicBezTo>
                  <a:pt x="98766" y="91699"/>
                  <a:pt x="95250" y="103983"/>
                  <a:pt x="95250" y="114301"/>
                </a:cubicBezTo>
                <a:cubicBezTo>
                  <a:pt x="95250" y="124621"/>
                  <a:pt x="95247" y="142876"/>
                  <a:pt x="79661" y="142876"/>
                </a:cubicBezTo>
                <a:cubicBezTo>
                  <a:pt x="73049" y="142876"/>
                  <a:pt x="59265" y="132876"/>
                  <a:pt x="45652" y="120220"/>
                </a:cubicBezTo>
                <a:lnTo>
                  <a:pt x="16260" y="149611"/>
                </a:lnTo>
                <a:cubicBezTo>
                  <a:pt x="12540" y="153332"/>
                  <a:pt x="6510" y="153332"/>
                  <a:pt x="2790" y="149611"/>
                </a:cubicBezTo>
                <a:cubicBezTo>
                  <a:pt x="-930" y="145892"/>
                  <a:pt x="-930" y="139861"/>
                  <a:pt x="2790" y="136141"/>
                </a:cubicBezTo>
                <a:lnTo>
                  <a:pt x="32181" y="106750"/>
                </a:lnTo>
                <a:cubicBezTo>
                  <a:pt x="19525" y="93137"/>
                  <a:pt x="9525" y="79353"/>
                  <a:pt x="9525" y="72740"/>
                </a:cubicBezTo>
                <a:cubicBezTo>
                  <a:pt x="9525" y="57154"/>
                  <a:pt x="27781" y="57151"/>
                  <a:pt x="38100" y="57151"/>
                </a:cubicBezTo>
                <a:cubicBezTo>
                  <a:pt x="48419" y="57151"/>
                  <a:pt x="60702" y="53635"/>
                  <a:pt x="66675" y="47626"/>
                </a:cubicBezTo>
                <a:cubicBezTo>
                  <a:pt x="73017" y="39560"/>
                  <a:pt x="76045" y="33113"/>
                  <a:pt x="77217" y="22562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77" name="Рисунок 76" descr="Изображение выглядит как графическая вставка, Графика, графический дизайн, иллюстрация&#10;&#10;Автоматически созданное описание">
            <a:extLst>
              <a:ext uri="{FF2B5EF4-FFF2-40B4-BE49-F238E27FC236}">
                <a16:creationId xmlns:a16="http://schemas.microsoft.com/office/drawing/2014/main" id="{276BF3AB-DC00-0546-93DF-2A740B4A669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645" y="647902"/>
            <a:ext cx="1659941" cy="803412"/>
          </a:xfrm>
          <a:prstGeom prst="rect">
            <a:avLst/>
          </a:prstGeom>
        </p:spPr>
      </p:pic>
      <p:pic>
        <p:nvPicPr>
          <p:cNvPr id="79" name="Рисунок 78" descr="Изображение выглядит как графическая вставка, мультфильм, Детское искусство, иллюстрация&#10;&#10;Автоматически созданное описание">
            <a:extLst>
              <a:ext uri="{FF2B5EF4-FFF2-40B4-BE49-F238E27FC236}">
                <a16:creationId xmlns:a16="http://schemas.microsoft.com/office/drawing/2014/main" id="{FADF100C-4902-314A-A475-3D020BAD1CC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5159" y="4333974"/>
            <a:ext cx="531911" cy="531911"/>
          </a:xfrm>
          <a:prstGeom prst="rect">
            <a:avLst/>
          </a:prstGeom>
        </p:spPr>
      </p:pic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2E914D65-6B19-2C49-A6F3-DBF88ABA0691}"/>
              </a:ext>
            </a:extLst>
          </p:cNvPr>
          <p:cNvGrpSpPr/>
          <p:nvPr/>
        </p:nvGrpSpPr>
        <p:grpSpPr>
          <a:xfrm>
            <a:off x="4712045" y="585020"/>
            <a:ext cx="3679822" cy="5212740"/>
            <a:chOff x="4746894" y="587649"/>
            <a:chExt cx="3679822" cy="5212740"/>
          </a:xfrm>
        </p:grpSpPr>
        <p:pic>
          <p:nvPicPr>
            <p:cNvPr id="125" name="Рисунок 124">
              <a:extLst>
                <a:ext uri="{FF2B5EF4-FFF2-40B4-BE49-F238E27FC236}">
                  <a16:creationId xmlns:a16="http://schemas.microsoft.com/office/drawing/2014/main" id="{E3079F11-CA78-FB11-42F8-457DF2F7DCD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6894" y="1316353"/>
              <a:ext cx="1564527" cy="2330494"/>
            </a:xfrm>
            <a:prstGeom prst="rect">
              <a:avLst/>
            </a:prstGeom>
          </p:spPr>
        </p:pic>
        <p:pic>
          <p:nvPicPr>
            <p:cNvPr id="126" name="Рисунок 125">
              <a:extLst>
                <a:ext uri="{FF2B5EF4-FFF2-40B4-BE49-F238E27FC236}">
                  <a16:creationId xmlns:a16="http://schemas.microsoft.com/office/drawing/2014/main" id="{2E4DA317-AF6A-4C4C-B7DD-279BA9C46C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66203" y="1608873"/>
              <a:ext cx="1474279" cy="2023321"/>
            </a:xfrm>
            <a:prstGeom prst="rect">
              <a:avLst/>
            </a:prstGeom>
          </p:spPr>
        </p:pic>
        <p:sp>
          <p:nvSpPr>
            <p:cNvPr id="127" name="Прямоугольник: скругленные углы 69">
              <a:extLst>
                <a:ext uri="{FF2B5EF4-FFF2-40B4-BE49-F238E27FC236}">
                  <a16:creationId xmlns:a16="http://schemas.microsoft.com/office/drawing/2014/main" id="{8F97E0D8-5259-1442-9794-751FF43EAF97}"/>
                </a:ext>
              </a:extLst>
            </p:cNvPr>
            <p:cNvSpPr/>
            <p:nvPr/>
          </p:nvSpPr>
          <p:spPr>
            <a:xfrm>
              <a:off x="5622966" y="1867607"/>
              <a:ext cx="94330" cy="103698"/>
            </a:xfrm>
            <a:prstGeom prst="roundRect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00" err="1"/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CB4CE404-E034-5EA4-6A2F-25540E37FFD6}"/>
                </a:ext>
              </a:extLst>
            </p:cNvPr>
            <p:cNvSpPr txBox="1"/>
            <p:nvPr/>
          </p:nvSpPr>
          <p:spPr>
            <a:xfrm>
              <a:off x="4754328" y="587649"/>
              <a:ext cx="2741705" cy="25329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b="1" dirty="0"/>
                <a:t>Настройся на цвет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8148D88D-B440-B167-A76A-F041BC960E25}"/>
                </a:ext>
              </a:extLst>
            </p:cNvPr>
            <p:cNvSpPr txBox="1"/>
            <p:nvPr/>
          </p:nvSpPr>
          <p:spPr>
            <a:xfrm>
              <a:off x="4754328" y="927719"/>
              <a:ext cx="3339825" cy="3957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200" dirty="0"/>
                <a:t>Подобрали цвета для разных задач </a:t>
              </a:r>
              <a:br>
                <a:rPr lang="ru-RU" sz="1200" dirty="0"/>
              </a:br>
              <a:r>
                <a:rPr lang="ru-RU" sz="1200" dirty="0"/>
                <a:t>и элементов и вшили их в шаблон.</a:t>
              </a:r>
            </a:p>
          </p:txBody>
        </p:sp>
        <p:sp>
          <p:nvSpPr>
            <p:cNvPr id="131" name="Прямоугольник: скругленные углы 49">
              <a:extLst>
                <a:ext uri="{FF2B5EF4-FFF2-40B4-BE49-F238E27FC236}">
                  <a16:creationId xmlns:a16="http://schemas.microsoft.com/office/drawing/2014/main" id="{0A0F66EF-CFCC-77BD-9275-23172110E19C}"/>
                </a:ext>
              </a:extLst>
            </p:cNvPr>
            <p:cNvSpPr/>
            <p:nvPr/>
          </p:nvSpPr>
          <p:spPr>
            <a:xfrm>
              <a:off x="4786313" y="1846263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32" name="Прямоугольник: скругленные углы 50">
              <a:extLst>
                <a:ext uri="{FF2B5EF4-FFF2-40B4-BE49-F238E27FC236}">
                  <a16:creationId xmlns:a16="http://schemas.microsoft.com/office/drawing/2014/main" id="{BA99DA5C-72A6-76A3-B3AD-0C86E0CE70F7}"/>
                </a:ext>
              </a:extLst>
            </p:cNvPr>
            <p:cNvSpPr/>
            <p:nvPr/>
          </p:nvSpPr>
          <p:spPr>
            <a:xfrm>
              <a:off x="4925305" y="1846263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33" name="Прямоугольник: скругленные углы 51">
              <a:extLst>
                <a:ext uri="{FF2B5EF4-FFF2-40B4-BE49-F238E27FC236}">
                  <a16:creationId xmlns:a16="http://schemas.microsoft.com/office/drawing/2014/main" id="{28146186-D17F-C1E9-4155-AC99C46AE4B3}"/>
                </a:ext>
              </a:extLst>
            </p:cNvPr>
            <p:cNvSpPr/>
            <p:nvPr/>
          </p:nvSpPr>
          <p:spPr>
            <a:xfrm>
              <a:off x="5326083" y="1802649"/>
              <a:ext cx="427511" cy="222730"/>
            </a:xfrm>
            <a:prstGeom prst="roundRect">
              <a:avLst/>
            </a:prstGeom>
            <a:noFill/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ru-RU" sz="800" b="1" dirty="0">
                  <a:solidFill>
                    <a:schemeClr val="tx1"/>
                  </a:solidFill>
                </a:rPr>
                <a:t>     4</a:t>
              </a:r>
            </a:p>
          </p:txBody>
        </p:sp>
        <p:sp>
          <p:nvSpPr>
            <p:cNvPr id="134" name="Прямоугольник: скругленные углы 52">
              <a:extLst>
                <a:ext uri="{FF2B5EF4-FFF2-40B4-BE49-F238E27FC236}">
                  <a16:creationId xmlns:a16="http://schemas.microsoft.com/office/drawing/2014/main" id="{452F4643-71DB-811F-5C4B-E1C7F21FA06A}"/>
                </a:ext>
              </a:extLst>
            </p:cNvPr>
            <p:cNvSpPr/>
            <p:nvPr/>
          </p:nvSpPr>
          <p:spPr>
            <a:xfrm>
              <a:off x="6031196" y="2052754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5" name="Прямоугольник: скругленные углы 53">
              <a:extLst>
                <a:ext uri="{FF2B5EF4-FFF2-40B4-BE49-F238E27FC236}">
                  <a16:creationId xmlns:a16="http://schemas.microsoft.com/office/drawing/2014/main" id="{691C8B0D-C366-E3A0-3A9D-B0805BF7D526}"/>
                </a:ext>
              </a:extLst>
            </p:cNvPr>
            <p:cNvSpPr/>
            <p:nvPr/>
          </p:nvSpPr>
          <p:spPr>
            <a:xfrm>
              <a:off x="4786312" y="2965276"/>
              <a:ext cx="417647" cy="129930"/>
            </a:xfrm>
            <a:prstGeom prst="roundRect">
              <a:avLst/>
            </a:prstGeom>
            <a:solidFill>
              <a:schemeClr val="bg1">
                <a:alpha val="45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136" name="Группа 135">
              <a:extLst>
                <a:ext uri="{FF2B5EF4-FFF2-40B4-BE49-F238E27FC236}">
                  <a16:creationId xmlns:a16="http://schemas.microsoft.com/office/drawing/2014/main" id="{29F5C26B-646A-5234-1901-00ECB2D410FD}"/>
                </a:ext>
              </a:extLst>
            </p:cNvPr>
            <p:cNvGrpSpPr/>
            <p:nvPr/>
          </p:nvGrpSpPr>
          <p:grpSpPr>
            <a:xfrm>
              <a:off x="4776934" y="3171767"/>
              <a:ext cx="1506353" cy="447322"/>
              <a:chOff x="4776934" y="3171767"/>
              <a:chExt cx="1506353" cy="447322"/>
            </a:xfrm>
          </p:grpSpPr>
          <p:cxnSp>
            <p:nvCxnSpPr>
              <p:cNvPr id="148" name="Прямая соединительная линия 147">
                <a:extLst>
                  <a:ext uri="{FF2B5EF4-FFF2-40B4-BE49-F238E27FC236}">
                    <a16:creationId xmlns:a16="http://schemas.microsoft.com/office/drawing/2014/main" id="{C2B165CD-4755-2151-C4E8-ED92D9BDF1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76934" y="3171767"/>
                <a:ext cx="1506353" cy="447322"/>
              </a:xfrm>
              <a:prstGeom prst="line">
                <a:avLst/>
              </a:prstGeom>
              <a:ln w="28575" cap="rnd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Прямая соединительная линия 148">
                <a:extLst>
                  <a:ext uri="{FF2B5EF4-FFF2-40B4-BE49-F238E27FC236}">
                    <a16:creationId xmlns:a16="http://schemas.microsoft.com/office/drawing/2014/main" id="{A67D9A16-BC97-2FB7-364C-E6EFF72F1E9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776934" y="3171767"/>
                <a:ext cx="1506353" cy="447322"/>
              </a:xfrm>
              <a:prstGeom prst="line">
                <a:avLst/>
              </a:prstGeom>
              <a:ln w="28575" cap="rnd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7" name="Прямоугольник: скругленные углы 60">
              <a:extLst>
                <a:ext uri="{FF2B5EF4-FFF2-40B4-BE49-F238E27FC236}">
                  <a16:creationId xmlns:a16="http://schemas.microsoft.com/office/drawing/2014/main" id="{F9F2583D-7AC8-9EE4-273C-642B2D503E74}"/>
                </a:ext>
              </a:extLst>
            </p:cNvPr>
            <p:cNvSpPr/>
            <p:nvPr/>
          </p:nvSpPr>
          <p:spPr>
            <a:xfrm>
              <a:off x="5613973" y="1852201"/>
              <a:ext cx="128588" cy="129930"/>
            </a:xfrm>
            <a:prstGeom prst="roundRect">
              <a:avLst/>
            </a:prstGeom>
            <a:noFill/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 dirty="0">
                  <a:solidFill>
                    <a:schemeClr val="bg1"/>
                  </a:solidFill>
                </a:rPr>
                <a:t>7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AE701400-5CBD-252E-038B-DBBC6163029F}"/>
                </a:ext>
              </a:extLst>
            </p:cNvPr>
            <p:cNvSpPr txBox="1"/>
            <p:nvPr/>
          </p:nvSpPr>
          <p:spPr>
            <a:xfrm>
              <a:off x="6446251" y="1591086"/>
              <a:ext cx="1980465" cy="20280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182563" indent="-182563" algn="l">
                <a:spcAft>
                  <a:spcPts val="600"/>
                </a:spcAft>
                <a:buAutoNum type="arabicPeriod"/>
              </a:pPr>
              <a:r>
                <a:rPr lang="ru-RU" sz="1200" dirty="0"/>
                <a:t>Цвет фона светлой темы.</a:t>
              </a:r>
            </a:p>
            <a:p>
              <a:pPr marL="182563" indent="-182563" algn="l">
                <a:spcAft>
                  <a:spcPts val="600"/>
                </a:spcAft>
                <a:buAutoNum type="arabicPeriod"/>
              </a:pPr>
              <a:r>
                <a:rPr lang="ru-RU" sz="1200" dirty="0"/>
                <a:t>Цвет текста для светлой темы.</a:t>
              </a:r>
            </a:p>
            <a:p>
              <a:pPr marL="182563" indent="-182563" algn="l">
                <a:spcAft>
                  <a:spcPts val="600"/>
                </a:spcAft>
                <a:buAutoNum type="arabicPeriod"/>
              </a:pPr>
              <a:r>
                <a:rPr lang="ru-RU" sz="1200" dirty="0"/>
                <a:t>Цвет фона для тёмной темы.</a:t>
              </a:r>
            </a:p>
            <a:p>
              <a:pPr marL="182563" indent="-182563" algn="l">
                <a:spcAft>
                  <a:spcPts val="600"/>
                </a:spcAft>
                <a:buAutoNum type="arabicPeriod"/>
              </a:pPr>
              <a:r>
                <a:rPr lang="ru-RU" sz="1200" dirty="0"/>
                <a:t>Основные акцентные цвета.</a:t>
              </a:r>
            </a:p>
            <a:p>
              <a:pPr marL="182563" indent="-182563" algn="l">
                <a:spcAft>
                  <a:spcPts val="600"/>
                </a:spcAft>
                <a:buAutoNum type="arabicPeriod"/>
              </a:pPr>
              <a:r>
                <a:rPr lang="ru-RU" sz="1200" dirty="0"/>
                <a:t>Цвет для больших плашек в светлой теме.</a:t>
              </a:r>
            </a:p>
            <a:p>
              <a:pPr marL="228600" indent="-228600" algn="l">
                <a:spcAft>
                  <a:spcPts val="600"/>
                </a:spcAft>
                <a:buFont typeface="+mj-lt"/>
                <a:buAutoNum type="arabicPeriod" startAt="3"/>
              </a:pPr>
              <a:endParaRPr lang="ru-RU" sz="1200" dirty="0"/>
            </a:p>
          </p:txBody>
        </p:sp>
        <p:sp>
          <p:nvSpPr>
            <p:cNvPr id="139" name="Прямоугольник: скругленные углы 63">
              <a:extLst>
                <a:ext uri="{FF2B5EF4-FFF2-40B4-BE49-F238E27FC236}">
                  <a16:creationId xmlns:a16="http://schemas.microsoft.com/office/drawing/2014/main" id="{827AC2BC-2F1F-7171-8A32-84E433F38FB6}"/>
                </a:ext>
              </a:extLst>
            </p:cNvPr>
            <p:cNvSpPr/>
            <p:nvPr/>
          </p:nvSpPr>
          <p:spPr>
            <a:xfrm>
              <a:off x="5889228" y="1846263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 dirty="0">
                  <a:solidFill>
                    <a:schemeClr val="tx1"/>
                  </a:solidFill>
                </a:rPr>
                <a:t>5</a:t>
              </a:r>
            </a:p>
          </p:txBody>
        </p:sp>
        <p:sp>
          <p:nvSpPr>
            <p:cNvPr id="140" name="Прямоугольник: скругленные углы 64">
              <a:extLst>
                <a:ext uri="{FF2B5EF4-FFF2-40B4-BE49-F238E27FC236}">
                  <a16:creationId xmlns:a16="http://schemas.microsoft.com/office/drawing/2014/main" id="{73190C78-DB36-C915-C2FE-248D4BFEC4D7}"/>
                </a:ext>
              </a:extLst>
            </p:cNvPr>
            <p:cNvSpPr/>
            <p:nvPr/>
          </p:nvSpPr>
          <p:spPr>
            <a:xfrm>
              <a:off x="6029005" y="1848082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9EA09BDF-4524-69CB-7A66-6638D40E47CB}"/>
                </a:ext>
              </a:extLst>
            </p:cNvPr>
            <p:cNvSpPr txBox="1"/>
            <p:nvPr/>
          </p:nvSpPr>
          <p:spPr>
            <a:xfrm>
              <a:off x="4754328" y="3908670"/>
              <a:ext cx="3538564" cy="12589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ru-RU"/>
              </a:defPPr>
              <a:lvl1pPr marL="228600" indent="-228600">
                <a:spcAft>
                  <a:spcPts val="600"/>
                </a:spcAft>
                <a:buAutoNum type="arabicPeriod"/>
                <a:defRPr sz="1200"/>
              </a:lvl1pPr>
            </a:lstStyle>
            <a:p>
              <a:pPr>
                <a:buFont typeface="+mj-lt"/>
                <a:buAutoNum type="arabicPeriod" startAt="6"/>
              </a:pPr>
              <a:r>
                <a:rPr lang="ru-RU" dirty="0"/>
                <a:t>Цвет вспомогательного текста.</a:t>
              </a:r>
            </a:p>
            <a:p>
              <a:pPr>
                <a:buFont typeface="+mj-lt"/>
                <a:buAutoNum type="arabicPeriod" startAt="6"/>
              </a:pPr>
              <a:r>
                <a:rPr lang="ru-RU" dirty="0"/>
                <a:t>Цвет больших плашек в тёмной теме.</a:t>
              </a:r>
            </a:p>
            <a:p>
              <a:pPr>
                <a:buFont typeface="+mj-lt"/>
                <a:buAutoNum type="arabicPeriod" startAt="6"/>
              </a:pPr>
              <a:r>
                <a:rPr lang="ru-RU" dirty="0"/>
                <a:t>Цвета для маркировки роста/падения показателей в таблицах.</a:t>
              </a:r>
            </a:p>
          </p:txBody>
        </p:sp>
        <p:sp>
          <p:nvSpPr>
            <p:cNvPr id="142" name="Прямоугольник: скругленные углы 66">
              <a:extLst>
                <a:ext uri="{FF2B5EF4-FFF2-40B4-BE49-F238E27FC236}">
                  <a16:creationId xmlns:a16="http://schemas.microsoft.com/office/drawing/2014/main" id="{7F578ABB-86DA-2D28-FB0D-6F26F3F51616}"/>
                </a:ext>
              </a:extLst>
            </p:cNvPr>
            <p:cNvSpPr/>
            <p:nvPr/>
          </p:nvSpPr>
          <p:spPr>
            <a:xfrm>
              <a:off x="4967311" y="5221257"/>
              <a:ext cx="728387" cy="570495"/>
            </a:xfrm>
            <a:prstGeom prst="roundRect">
              <a:avLst>
                <a:gd name="adj" fmla="val 8253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900">
                <a:solidFill>
                  <a:schemeClr val="tx2"/>
                </a:solidFill>
              </a:endParaRPr>
            </a:p>
          </p:txBody>
        </p:sp>
        <p:sp>
          <p:nvSpPr>
            <p:cNvPr id="143" name="Прямоугольник: скругленные углы 67">
              <a:extLst>
                <a:ext uri="{FF2B5EF4-FFF2-40B4-BE49-F238E27FC236}">
                  <a16:creationId xmlns:a16="http://schemas.microsoft.com/office/drawing/2014/main" id="{34BA46B6-4EAD-3D49-E4A6-147FE2E4976A}"/>
                </a:ext>
              </a:extLst>
            </p:cNvPr>
            <p:cNvSpPr/>
            <p:nvPr/>
          </p:nvSpPr>
          <p:spPr>
            <a:xfrm>
              <a:off x="4780118" y="5221258"/>
              <a:ext cx="147470" cy="242152"/>
            </a:xfrm>
            <a:prstGeom prst="roundRect">
              <a:avLst>
                <a:gd name="adj" fmla="val 20249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00" err="1"/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3DFF2BDC-351B-9189-BF06-4368E6CFA142}"/>
                </a:ext>
              </a:extLst>
            </p:cNvPr>
            <p:cNvSpPr txBox="1"/>
            <p:nvPr/>
          </p:nvSpPr>
          <p:spPr>
            <a:xfrm>
              <a:off x="5788662" y="5228672"/>
              <a:ext cx="2235410" cy="5471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ru-RU" sz="1200" spc="-30" dirty="0"/>
                <a:t>Слева от слайда добавили подсказку по выбору цветов, которая дублирует информацию выше. </a:t>
              </a:r>
            </a:p>
          </p:txBody>
        </p:sp>
        <p:sp>
          <p:nvSpPr>
            <p:cNvPr id="145" name="Прямоугольник: скругленные углы 69">
              <a:extLst>
                <a:ext uri="{FF2B5EF4-FFF2-40B4-BE49-F238E27FC236}">
                  <a16:creationId xmlns:a16="http://schemas.microsoft.com/office/drawing/2014/main" id="{4159EF26-62C4-8B58-ED6B-15706AB0E022}"/>
                </a:ext>
              </a:extLst>
            </p:cNvPr>
            <p:cNvSpPr/>
            <p:nvPr/>
          </p:nvSpPr>
          <p:spPr>
            <a:xfrm>
              <a:off x="4780118" y="5495518"/>
              <a:ext cx="147470" cy="173301"/>
            </a:xfrm>
            <a:prstGeom prst="roundRect">
              <a:avLst>
                <a:gd name="adj" fmla="val 18868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00" err="1"/>
            </a:p>
          </p:txBody>
        </p:sp>
        <p:sp>
          <p:nvSpPr>
            <p:cNvPr id="146" name="Прямоугольник: скругленные углы 70">
              <a:extLst>
                <a:ext uri="{FF2B5EF4-FFF2-40B4-BE49-F238E27FC236}">
                  <a16:creationId xmlns:a16="http://schemas.microsoft.com/office/drawing/2014/main" id="{8ABBFB18-DBBD-2DB9-8A1A-34DF93D1D83D}"/>
                </a:ext>
              </a:extLst>
            </p:cNvPr>
            <p:cNvSpPr/>
            <p:nvPr/>
          </p:nvSpPr>
          <p:spPr>
            <a:xfrm>
              <a:off x="4780118" y="5700927"/>
              <a:ext cx="147470" cy="99462"/>
            </a:xfrm>
            <a:prstGeom prst="roundRect">
              <a:avLst>
                <a:gd name="adj" fmla="val 29916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00" err="1"/>
            </a:p>
          </p:txBody>
        </p:sp>
        <p:sp>
          <p:nvSpPr>
            <p:cNvPr id="147" name="Прямоугольник: скругленные углы 50">
              <a:extLst>
                <a:ext uri="{FF2B5EF4-FFF2-40B4-BE49-F238E27FC236}">
                  <a16:creationId xmlns:a16="http://schemas.microsoft.com/office/drawing/2014/main" id="{BA99DA5C-72A6-76A3-B3AD-0C86E0CE70F7}"/>
                </a:ext>
              </a:extLst>
            </p:cNvPr>
            <p:cNvSpPr/>
            <p:nvPr/>
          </p:nvSpPr>
          <p:spPr>
            <a:xfrm>
              <a:off x="5197495" y="1846263"/>
              <a:ext cx="128588" cy="129930"/>
            </a:xfrm>
            <a:prstGeom prst="roundRect">
              <a:avLst/>
            </a:prstGeom>
            <a:solidFill>
              <a:schemeClr val="accent6">
                <a:alpha val="10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800" b="1" dirty="0">
                  <a:solidFill>
                    <a:schemeClr val="bg1"/>
                  </a:solidFill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37495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047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5">
            <a:extLst>
              <a:ext uri="{FF2B5EF4-FFF2-40B4-BE49-F238E27FC236}">
                <a16:creationId xmlns:a16="http://schemas.microsoft.com/office/drawing/2014/main" id="{1A5E7A27-B406-F04E-B3D1-269B3686E51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8215" y="2442368"/>
            <a:ext cx="1350017" cy="1293915"/>
          </a:xfrm>
        </p:spPr>
        <p:txBody>
          <a:bodyPr anchor="t"/>
          <a:lstStyle>
            <a:lvl1pPr algn="l">
              <a:defRPr sz="8000" b="0" spc="-20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10" name="Текст 8">
            <a:extLst>
              <a:ext uri="{FF2B5EF4-FFF2-40B4-BE49-F238E27FC236}">
                <a16:creationId xmlns:a16="http://schemas.microsoft.com/office/drawing/2014/main" id="{57C6829E-406F-964B-B3A2-72F9D90500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8321" y="2580370"/>
            <a:ext cx="6784279" cy="2341562"/>
          </a:xfrm>
        </p:spPr>
        <p:txBody>
          <a:bodyPr/>
          <a:lstStyle>
            <a:lvl1pPr>
              <a:spcAft>
                <a:spcPts val="0"/>
              </a:spcAft>
              <a:defRPr sz="4000" b="0" spc="-5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пиши смысловой заголовок раздела </a:t>
            </a:r>
            <a:br>
              <a:rPr lang="ru-RU" dirty="0"/>
            </a:br>
            <a:r>
              <a:rPr lang="ru-RU" dirty="0"/>
              <a:t>в 2–3 строки</a:t>
            </a:r>
          </a:p>
        </p:txBody>
      </p:sp>
      <p:sp>
        <p:nvSpPr>
          <p:cNvPr id="3" name="Рисунок 1">
            <a:extLst>
              <a:ext uri="{FF2B5EF4-FFF2-40B4-BE49-F238E27FC236}">
                <a16:creationId xmlns:a16="http://schemas.microsoft.com/office/drawing/2014/main" id="{38A28D30-1C03-579F-359E-5FA2F710804E}"/>
              </a:ext>
            </a:extLst>
          </p:cNvPr>
          <p:cNvSpPr>
            <a:spLocks noChangeAspect="1"/>
          </p:cNvSpPr>
          <p:nvPr/>
        </p:nvSpPr>
        <p:spPr>
          <a:xfrm>
            <a:off x="2463428" y="1866339"/>
            <a:ext cx="1440844" cy="3492800"/>
          </a:xfrm>
          <a:custGeom>
            <a:avLst/>
            <a:gdLst>
              <a:gd name="connsiteX0" fmla="*/ 0 w 1440844"/>
              <a:gd name="connsiteY0" fmla="*/ 1367312 h 3492800"/>
              <a:gd name="connsiteX1" fmla="*/ 0 w 1440844"/>
              <a:gd name="connsiteY1" fmla="*/ 1354351 h 3492800"/>
              <a:gd name="connsiteX2" fmla="*/ 0 w 1440844"/>
              <a:gd name="connsiteY2" fmla="*/ 1030344 h 3492800"/>
              <a:gd name="connsiteX3" fmla="*/ 52157 w 1440844"/>
              <a:gd name="connsiteY3" fmla="*/ 965542 h 3492800"/>
              <a:gd name="connsiteX4" fmla="*/ 176031 w 1440844"/>
              <a:gd name="connsiteY4" fmla="*/ 946102 h 3492800"/>
              <a:gd name="connsiteX5" fmla="*/ 495494 w 1440844"/>
              <a:gd name="connsiteY5" fmla="*/ 524892 h 3492800"/>
              <a:gd name="connsiteX6" fmla="*/ 495494 w 1440844"/>
              <a:gd name="connsiteY6" fmla="*/ 64801 h 3492800"/>
              <a:gd name="connsiteX7" fmla="*/ 554171 w 1440844"/>
              <a:gd name="connsiteY7" fmla="*/ 0 h 3492800"/>
              <a:gd name="connsiteX8" fmla="*/ 867115 w 1440844"/>
              <a:gd name="connsiteY8" fmla="*/ 0 h 3492800"/>
              <a:gd name="connsiteX9" fmla="*/ 925792 w 1440844"/>
              <a:gd name="connsiteY9" fmla="*/ 64801 h 3492800"/>
              <a:gd name="connsiteX10" fmla="*/ 925792 w 1440844"/>
              <a:gd name="connsiteY10" fmla="*/ 524892 h 3492800"/>
              <a:gd name="connsiteX11" fmla="*/ 573730 w 1440844"/>
              <a:gd name="connsiteY11" fmla="*/ 1192347 h 3492800"/>
              <a:gd name="connsiteX12" fmla="*/ 925792 w 1440844"/>
              <a:gd name="connsiteY12" fmla="*/ 1827402 h 3492800"/>
              <a:gd name="connsiteX13" fmla="*/ 925792 w 1440844"/>
              <a:gd name="connsiteY13" fmla="*/ 2838305 h 3492800"/>
              <a:gd name="connsiteX14" fmla="*/ 1147460 w 1440844"/>
              <a:gd name="connsiteY14" fmla="*/ 3058630 h 3492800"/>
              <a:gd name="connsiteX15" fmla="*/ 1375648 w 1440844"/>
              <a:gd name="connsiteY15" fmla="*/ 3058630 h 3492800"/>
              <a:gd name="connsiteX16" fmla="*/ 1434325 w 1440844"/>
              <a:gd name="connsiteY16" fmla="*/ 3123432 h 3492800"/>
              <a:gd name="connsiteX17" fmla="*/ 1440845 w 1440844"/>
              <a:gd name="connsiteY17" fmla="*/ 3427999 h 3492800"/>
              <a:gd name="connsiteX18" fmla="*/ 1375648 w 1440844"/>
              <a:gd name="connsiteY18" fmla="*/ 3492800 h 3492800"/>
              <a:gd name="connsiteX19" fmla="*/ 1193097 w 1440844"/>
              <a:gd name="connsiteY19" fmla="*/ 3492800 h 3492800"/>
              <a:gd name="connsiteX20" fmla="*/ 697603 w 1440844"/>
              <a:gd name="connsiteY20" fmla="*/ 3291916 h 3492800"/>
              <a:gd name="connsiteX21" fmla="*/ 488974 w 1440844"/>
              <a:gd name="connsiteY21" fmla="*/ 2792944 h 3492800"/>
              <a:gd name="connsiteX22" fmla="*/ 488974 w 1440844"/>
              <a:gd name="connsiteY22" fmla="*/ 1846843 h 3492800"/>
              <a:gd name="connsiteX23" fmla="*/ 169511 w 1440844"/>
              <a:gd name="connsiteY23" fmla="*/ 1451553 h 3492800"/>
              <a:gd name="connsiteX24" fmla="*/ 45638 w 1440844"/>
              <a:gd name="connsiteY24" fmla="*/ 1432113 h 3492800"/>
              <a:gd name="connsiteX25" fmla="*/ 0 w 1440844"/>
              <a:gd name="connsiteY25" fmla="*/ 1367312 h 3492800"/>
              <a:gd name="connsiteX26" fmla="*/ 0 w 1440844"/>
              <a:gd name="connsiteY26" fmla="*/ 1367312 h 349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440844" h="3492800">
                <a:moveTo>
                  <a:pt x="0" y="1367312"/>
                </a:moveTo>
                <a:cubicBezTo>
                  <a:pt x="0" y="1360831"/>
                  <a:pt x="0" y="1360831"/>
                  <a:pt x="0" y="1354351"/>
                </a:cubicBezTo>
                <a:lnTo>
                  <a:pt x="0" y="1030344"/>
                </a:lnTo>
                <a:cubicBezTo>
                  <a:pt x="0" y="997943"/>
                  <a:pt x="19559" y="972022"/>
                  <a:pt x="52157" y="965542"/>
                </a:cubicBezTo>
                <a:cubicBezTo>
                  <a:pt x="97795" y="959062"/>
                  <a:pt x="156472" y="946102"/>
                  <a:pt x="176031" y="946102"/>
                </a:cubicBezTo>
                <a:cubicBezTo>
                  <a:pt x="247747" y="926661"/>
                  <a:pt x="495494" y="868340"/>
                  <a:pt x="495494" y="524892"/>
                </a:cubicBezTo>
                <a:lnTo>
                  <a:pt x="495494" y="64801"/>
                </a:lnTo>
                <a:cubicBezTo>
                  <a:pt x="495494" y="32401"/>
                  <a:pt x="521573" y="0"/>
                  <a:pt x="554171" y="0"/>
                </a:cubicBezTo>
                <a:lnTo>
                  <a:pt x="867115" y="0"/>
                </a:lnTo>
                <a:cubicBezTo>
                  <a:pt x="906233" y="0"/>
                  <a:pt x="925792" y="25921"/>
                  <a:pt x="925792" y="64801"/>
                </a:cubicBezTo>
                <a:lnTo>
                  <a:pt x="925792" y="524892"/>
                </a:lnTo>
                <a:cubicBezTo>
                  <a:pt x="925792" y="991463"/>
                  <a:pt x="593289" y="1179387"/>
                  <a:pt x="573730" y="1192347"/>
                </a:cubicBezTo>
                <a:cubicBezTo>
                  <a:pt x="593289" y="1205308"/>
                  <a:pt x="912752" y="1380272"/>
                  <a:pt x="925792" y="1827402"/>
                </a:cubicBezTo>
                <a:cubicBezTo>
                  <a:pt x="925792" y="1840362"/>
                  <a:pt x="925792" y="2617980"/>
                  <a:pt x="925792" y="2838305"/>
                </a:cubicBezTo>
                <a:cubicBezTo>
                  <a:pt x="925792" y="2961428"/>
                  <a:pt x="1030106" y="3058630"/>
                  <a:pt x="1147460" y="3058630"/>
                </a:cubicBezTo>
                <a:cubicBezTo>
                  <a:pt x="1232215" y="3058630"/>
                  <a:pt x="1316971" y="3058630"/>
                  <a:pt x="1375648" y="3058630"/>
                </a:cubicBezTo>
                <a:cubicBezTo>
                  <a:pt x="1408246" y="3058630"/>
                  <a:pt x="1434325" y="3091031"/>
                  <a:pt x="1434325" y="3123432"/>
                </a:cubicBezTo>
                <a:cubicBezTo>
                  <a:pt x="1434325" y="3207674"/>
                  <a:pt x="1440845" y="3311356"/>
                  <a:pt x="1440845" y="3427999"/>
                </a:cubicBezTo>
                <a:cubicBezTo>
                  <a:pt x="1440845" y="3466880"/>
                  <a:pt x="1408246" y="3492800"/>
                  <a:pt x="1375648" y="3492800"/>
                </a:cubicBezTo>
                <a:lnTo>
                  <a:pt x="1193097" y="3492800"/>
                </a:lnTo>
                <a:cubicBezTo>
                  <a:pt x="1010547" y="3492800"/>
                  <a:pt x="827997" y="3421519"/>
                  <a:pt x="697603" y="3291916"/>
                </a:cubicBezTo>
                <a:cubicBezTo>
                  <a:pt x="560691" y="3162313"/>
                  <a:pt x="488974" y="2980869"/>
                  <a:pt x="488974" y="2792944"/>
                </a:cubicBezTo>
                <a:cubicBezTo>
                  <a:pt x="488974" y="2792944"/>
                  <a:pt x="488974" y="1853323"/>
                  <a:pt x="488974" y="1846843"/>
                </a:cubicBezTo>
                <a:cubicBezTo>
                  <a:pt x="482455" y="1522835"/>
                  <a:pt x="241227" y="1470994"/>
                  <a:pt x="169511" y="1451553"/>
                </a:cubicBezTo>
                <a:cubicBezTo>
                  <a:pt x="149952" y="1445073"/>
                  <a:pt x="91275" y="1438593"/>
                  <a:pt x="45638" y="1432113"/>
                </a:cubicBezTo>
                <a:cubicBezTo>
                  <a:pt x="13039" y="1432113"/>
                  <a:pt x="0" y="1399712"/>
                  <a:pt x="0" y="1367312"/>
                </a:cubicBezTo>
                <a:lnTo>
                  <a:pt x="0" y="1367312"/>
                </a:lnTo>
                <a:close/>
              </a:path>
            </a:pathLst>
          </a:custGeom>
          <a:solidFill>
            <a:srgbClr val="3ADF68"/>
          </a:solidFill>
          <a:ln w="6508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6643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_ligh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10D6F415-5971-D713-010A-984685CE43F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tx1"/>
          </a:solidFill>
        </p:grpSpPr>
        <p:sp>
          <p:nvSpPr>
            <p:cNvPr id="26" name="Полилиния 25">
              <a:extLst>
                <a:ext uri="{FF2B5EF4-FFF2-40B4-BE49-F238E27FC236}">
                  <a16:creationId xmlns:a16="http://schemas.microsoft.com/office/drawing/2014/main" id="{D40097E2-2B5C-8101-60E7-30D795E30DCA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 28">
              <a:extLst>
                <a:ext uri="{FF2B5EF4-FFF2-40B4-BE49-F238E27FC236}">
                  <a16:creationId xmlns:a16="http://schemas.microsoft.com/office/drawing/2014/main" id="{94702B16-41DB-EC61-7FA5-51AE8CA2BA17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598D0B46-B0A6-A42A-ED59-1B31201D1AB2}"/>
              </a:ext>
            </a:extLst>
          </p:cNvPr>
          <p:cNvGrpSpPr/>
          <p:nvPr userDrawn="1"/>
        </p:nvGrpSpPr>
        <p:grpSpPr>
          <a:xfrm>
            <a:off x="-2138458" y="0"/>
            <a:ext cx="1928241" cy="2880934"/>
            <a:chOff x="-2138458" y="0"/>
            <a:chExt cx="1928241" cy="2880934"/>
          </a:xfrm>
        </p:grpSpPr>
        <p:sp>
          <p:nvSpPr>
            <p:cNvPr id="27" name="Прямоугольник: скругленные углы 26">
              <a:extLst>
                <a:ext uri="{FF2B5EF4-FFF2-40B4-BE49-F238E27FC236}">
                  <a16:creationId xmlns:a16="http://schemas.microsoft.com/office/drawing/2014/main" id="{A1753B2C-76E2-A5A6-A432-B4822F053CE8}"/>
                </a:ext>
              </a:extLst>
            </p:cNvPr>
            <p:cNvSpPr/>
            <p:nvPr/>
          </p:nvSpPr>
          <p:spPr>
            <a:xfrm>
              <a:off x="-2138458" y="54865"/>
              <a:ext cx="1928241" cy="2826069"/>
            </a:xfrm>
            <a:prstGeom prst="roundRect">
              <a:avLst>
                <a:gd name="adj" fmla="val 5926"/>
              </a:avLst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Прямоугольник: скругленные верхние углы 27">
              <a:extLst>
                <a:ext uri="{FF2B5EF4-FFF2-40B4-BE49-F238E27FC236}">
                  <a16:creationId xmlns:a16="http://schemas.microsoft.com/office/drawing/2014/main" id="{9872BA5A-3054-929B-2FEA-74D99D7CC1B7}"/>
                </a:ext>
              </a:extLst>
            </p:cNvPr>
            <p:cNvSpPr/>
            <p:nvPr/>
          </p:nvSpPr>
          <p:spPr>
            <a:xfrm>
              <a:off x="-2136930" y="0"/>
              <a:ext cx="1926713" cy="288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rtlCol="0" anchor="ctr"/>
            <a:lstStyle/>
            <a:p>
              <a:pPr algn="ctr"/>
              <a:r>
                <a:rPr lang="ru-RU" sz="1100" b="1">
                  <a:solidFill>
                    <a:schemeClr val="tx1"/>
                  </a:solidFill>
                </a:rPr>
                <a:t>Размеры текста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E06276D-FE9B-6C65-2089-D67EA95A44C3}"/>
                </a:ext>
              </a:extLst>
            </p:cNvPr>
            <p:cNvSpPr txBox="1"/>
            <p:nvPr/>
          </p:nvSpPr>
          <p:spPr>
            <a:xfrm>
              <a:off x="-1691344" y="2506490"/>
              <a:ext cx="1373969" cy="2428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lnSpc>
                  <a:spcPct val="90000"/>
                </a:lnSpc>
              </a:pPr>
              <a:r>
                <a:rPr lang="ru-RU" sz="900" b="0">
                  <a:solidFill>
                    <a:schemeClr val="accent1"/>
                  </a:solidFill>
                </a:rPr>
                <a:t>Используй эти размеры </a:t>
              </a:r>
              <a:br>
                <a:rPr lang="ru-RU" sz="900" b="0">
                  <a:solidFill>
                    <a:schemeClr val="accent1"/>
                  </a:solidFill>
                </a:rPr>
              </a:br>
              <a:r>
                <a:rPr lang="ru-RU" sz="900" b="0">
                  <a:solidFill>
                    <a:schemeClr val="accent1"/>
                  </a:solidFill>
                </a:rPr>
                <a:t>по всей презентации</a:t>
              </a:r>
            </a:p>
          </p:txBody>
        </p:sp>
        <p:sp>
          <p:nvSpPr>
            <p:cNvPr id="57" name="Полилиния: фигура 56">
              <a:extLst>
                <a:ext uri="{FF2B5EF4-FFF2-40B4-BE49-F238E27FC236}">
                  <a16:creationId xmlns:a16="http://schemas.microsoft.com/office/drawing/2014/main" id="{78DE2901-DB4C-83F6-72BC-325CB8411C2E}"/>
                </a:ext>
              </a:extLst>
            </p:cNvPr>
            <p:cNvSpPr/>
            <p:nvPr/>
          </p:nvSpPr>
          <p:spPr>
            <a:xfrm>
              <a:off x="-2004344" y="2488864"/>
              <a:ext cx="216624" cy="228657"/>
            </a:xfrm>
            <a:custGeom>
              <a:avLst/>
              <a:gdLst>
                <a:gd name="connsiteX0" fmla="*/ 72536 w 171450"/>
                <a:gd name="connsiteY0" fmla="*/ 162210 h 180974"/>
                <a:gd name="connsiteX1" fmla="*/ 98923 w 171450"/>
                <a:gd name="connsiteY1" fmla="*/ 162210 h 180974"/>
                <a:gd name="connsiteX2" fmla="*/ 103600 w 171450"/>
                <a:gd name="connsiteY2" fmla="*/ 172160 h 180974"/>
                <a:gd name="connsiteX3" fmla="*/ 85726 w 171450"/>
                <a:gd name="connsiteY3" fmla="*/ 180974 h 180974"/>
                <a:gd name="connsiteX4" fmla="*/ 67852 w 171450"/>
                <a:gd name="connsiteY4" fmla="*/ 172160 h 180974"/>
                <a:gd name="connsiteX5" fmla="*/ 72536 w 171450"/>
                <a:gd name="connsiteY5" fmla="*/ 162210 h 180974"/>
                <a:gd name="connsiteX6" fmla="*/ 152400 w 171450"/>
                <a:gd name="connsiteY6" fmla="*/ 76200 h 180974"/>
                <a:gd name="connsiteX7" fmla="*/ 161925 w 171450"/>
                <a:gd name="connsiteY7" fmla="*/ 76200 h 180974"/>
                <a:gd name="connsiteX8" fmla="*/ 171450 w 171450"/>
                <a:gd name="connsiteY8" fmla="*/ 85725 h 180974"/>
                <a:gd name="connsiteX9" fmla="*/ 161925 w 171450"/>
                <a:gd name="connsiteY9" fmla="*/ 95250 h 180974"/>
                <a:gd name="connsiteX10" fmla="*/ 152400 w 171450"/>
                <a:gd name="connsiteY10" fmla="*/ 95250 h 180974"/>
                <a:gd name="connsiteX11" fmla="*/ 142875 w 171450"/>
                <a:gd name="connsiteY11" fmla="*/ 85725 h 180974"/>
                <a:gd name="connsiteX12" fmla="*/ 152400 w 171450"/>
                <a:gd name="connsiteY12" fmla="*/ 76200 h 180974"/>
                <a:gd name="connsiteX13" fmla="*/ 9525 w 171450"/>
                <a:gd name="connsiteY13" fmla="*/ 76200 h 180974"/>
                <a:gd name="connsiteX14" fmla="*/ 19050 w 171450"/>
                <a:gd name="connsiteY14" fmla="*/ 76200 h 180974"/>
                <a:gd name="connsiteX15" fmla="*/ 28575 w 171450"/>
                <a:gd name="connsiteY15" fmla="*/ 85725 h 180974"/>
                <a:gd name="connsiteX16" fmla="*/ 19050 w 171450"/>
                <a:gd name="connsiteY16" fmla="*/ 95250 h 180974"/>
                <a:gd name="connsiteX17" fmla="*/ 9525 w 171450"/>
                <a:gd name="connsiteY17" fmla="*/ 95250 h 180974"/>
                <a:gd name="connsiteX18" fmla="*/ 0 w 171450"/>
                <a:gd name="connsiteY18" fmla="*/ 85725 h 180974"/>
                <a:gd name="connsiteX19" fmla="*/ 9525 w 171450"/>
                <a:gd name="connsiteY19" fmla="*/ 76200 h 180974"/>
                <a:gd name="connsiteX20" fmla="*/ 85725 w 171450"/>
                <a:gd name="connsiteY20" fmla="*/ 38100 h 180974"/>
                <a:gd name="connsiteX21" fmla="*/ 133350 w 171450"/>
                <a:gd name="connsiteY21" fmla="*/ 85725 h 180974"/>
                <a:gd name="connsiteX22" fmla="*/ 123174 w 171450"/>
                <a:gd name="connsiteY22" fmla="*/ 114596 h 180974"/>
                <a:gd name="connsiteX23" fmla="*/ 114300 w 171450"/>
                <a:gd name="connsiteY23" fmla="*/ 138113 h 180974"/>
                <a:gd name="connsiteX24" fmla="*/ 85725 w 171450"/>
                <a:gd name="connsiteY24" fmla="*/ 152400 h 180974"/>
                <a:gd name="connsiteX25" fmla="*/ 57150 w 171450"/>
                <a:gd name="connsiteY25" fmla="*/ 138113 h 180974"/>
                <a:gd name="connsiteX26" fmla="*/ 48275 w 171450"/>
                <a:gd name="connsiteY26" fmla="*/ 114596 h 180974"/>
                <a:gd name="connsiteX27" fmla="*/ 38100 w 171450"/>
                <a:gd name="connsiteY27" fmla="*/ 85725 h 180974"/>
                <a:gd name="connsiteX28" fmla="*/ 85725 w 171450"/>
                <a:gd name="connsiteY28" fmla="*/ 38100 h 180974"/>
                <a:gd name="connsiteX29" fmla="*/ 136141 w 171450"/>
                <a:gd name="connsiteY29" fmla="*/ 21840 h 180974"/>
                <a:gd name="connsiteX30" fmla="*/ 149611 w 171450"/>
                <a:gd name="connsiteY30" fmla="*/ 21840 h 180974"/>
                <a:gd name="connsiteX31" fmla="*/ 149611 w 171450"/>
                <a:gd name="connsiteY31" fmla="*/ 35310 h 180974"/>
                <a:gd name="connsiteX32" fmla="*/ 140086 w 171450"/>
                <a:gd name="connsiteY32" fmla="*/ 44835 h 180974"/>
                <a:gd name="connsiteX33" fmla="*/ 126616 w 171450"/>
                <a:gd name="connsiteY33" fmla="*/ 44835 h 180974"/>
                <a:gd name="connsiteX34" fmla="*/ 126616 w 171450"/>
                <a:gd name="connsiteY34" fmla="*/ 31365 h 180974"/>
                <a:gd name="connsiteX35" fmla="*/ 21840 w 171450"/>
                <a:gd name="connsiteY35" fmla="*/ 21840 h 180974"/>
                <a:gd name="connsiteX36" fmla="*/ 35310 w 171450"/>
                <a:gd name="connsiteY36" fmla="*/ 21840 h 180974"/>
                <a:gd name="connsiteX37" fmla="*/ 44835 w 171450"/>
                <a:gd name="connsiteY37" fmla="*/ 31365 h 180974"/>
                <a:gd name="connsiteX38" fmla="*/ 44835 w 171450"/>
                <a:gd name="connsiteY38" fmla="*/ 44835 h 180974"/>
                <a:gd name="connsiteX39" fmla="*/ 31365 w 171450"/>
                <a:gd name="connsiteY39" fmla="*/ 44835 h 180974"/>
                <a:gd name="connsiteX40" fmla="*/ 21840 w 171450"/>
                <a:gd name="connsiteY40" fmla="*/ 35310 h 180974"/>
                <a:gd name="connsiteX41" fmla="*/ 21840 w 171450"/>
                <a:gd name="connsiteY41" fmla="*/ 21840 h 180974"/>
                <a:gd name="connsiteX42" fmla="*/ 85725 w 171450"/>
                <a:gd name="connsiteY42" fmla="*/ 0 h 180974"/>
                <a:gd name="connsiteX43" fmla="*/ 95250 w 171450"/>
                <a:gd name="connsiteY43" fmla="*/ 9525 h 180974"/>
                <a:gd name="connsiteX44" fmla="*/ 95250 w 171450"/>
                <a:gd name="connsiteY44" fmla="*/ 19050 h 180974"/>
                <a:gd name="connsiteX45" fmla="*/ 85725 w 171450"/>
                <a:gd name="connsiteY45" fmla="*/ 28575 h 180974"/>
                <a:gd name="connsiteX46" fmla="*/ 76200 w 171450"/>
                <a:gd name="connsiteY46" fmla="*/ 19050 h 180974"/>
                <a:gd name="connsiteX47" fmla="*/ 76200 w 171450"/>
                <a:gd name="connsiteY47" fmla="*/ 9525 h 180974"/>
                <a:gd name="connsiteX48" fmla="*/ 85725 w 171450"/>
                <a:gd name="connsiteY48" fmla="*/ 0 h 18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71450" h="180974">
                  <a:moveTo>
                    <a:pt x="72536" y="162210"/>
                  </a:moveTo>
                  <a:cubicBezTo>
                    <a:pt x="80449" y="164140"/>
                    <a:pt x="90933" y="164211"/>
                    <a:pt x="98923" y="162210"/>
                  </a:cubicBezTo>
                  <a:cubicBezTo>
                    <a:pt x="105617" y="160534"/>
                    <a:pt x="105617" y="166533"/>
                    <a:pt x="103600" y="172160"/>
                  </a:cubicBezTo>
                  <a:cubicBezTo>
                    <a:pt x="100950" y="179549"/>
                    <a:pt x="95451" y="180974"/>
                    <a:pt x="85726" y="180974"/>
                  </a:cubicBezTo>
                  <a:cubicBezTo>
                    <a:pt x="76000" y="180974"/>
                    <a:pt x="70501" y="179549"/>
                    <a:pt x="67852" y="172160"/>
                  </a:cubicBezTo>
                  <a:cubicBezTo>
                    <a:pt x="65835" y="166534"/>
                    <a:pt x="65835" y="160576"/>
                    <a:pt x="72536" y="162210"/>
                  </a:cubicBezTo>
                  <a:close/>
                  <a:moveTo>
                    <a:pt x="152400" y="76200"/>
                  </a:moveTo>
                  <a:lnTo>
                    <a:pt x="161925" y="76200"/>
                  </a:lnTo>
                  <a:cubicBezTo>
                    <a:pt x="167186" y="76200"/>
                    <a:pt x="171450" y="80464"/>
                    <a:pt x="171450" y="85725"/>
                  </a:cubicBezTo>
                  <a:cubicBezTo>
                    <a:pt x="171450" y="90986"/>
                    <a:pt x="167186" y="95250"/>
                    <a:pt x="161925" y="95250"/>
                  </a:cubicBezTo>
                  <a:lnTo>
                    <a:pt x="152400" y="95250"/>
                  </a:lnTo>
                  <a:cubicBezTo>
                    <a:pt x="147139" y="95250"/>
                    <a:pt x="142875" y="90986"/>
                    <a:pt x="142875" y="85725"/>
                  </a:cubicBezTo>
                  <a:cubicBezTo>
                    <a:pt x="142875" y="80464"/>
                    <a:pt x="147139" y="76200"/>
                    <a:pt x="152400" y="76200"/>
                  </a:cubicBezTo>
                  <a:close/>
                  <a:moveTo>
                    <a:pt x="9525" y="76200"/>
                  </a:moveTo>
                  <a:lnTo>
                    <a:pt x="19050" y="76200"/>
                  </a:lnTo>
                  <a:cubicBezTo>
                    <a:pt x="24310" y="76200"/>
                    <a:pt x="28575" y="80464"/>
                    <a:pt x="28575" y="85725"/>
                  </a:cubicBezTo>
                  <a:cubicBezTo>
                    <a:pt x="28575" y="90986"/>
                    <a:pt x="24310" y="95250"/>
                    <a:pt x="19050" y="95250"/>
                  </a:cubicBezTo>
                  <a:lnTo>
                    <a:pt x="9525" y="95250"/>
                  </a:lnTo>
                  <a:cubicBezTo>
                    <a:pt x="4265" y="95250"/>
                    <a:pt x="0" y="90986"/>
                    <a:pt x="0" y="85725"/>
                  </a:cubicBezTo>
                  <a:cubicBezTo>
                    <a:pt x="0" y="80464"/>
                    <a:pt x="4265" y="76200"/>
                    <a:pt x="9525" y="76200"/>
                  </a:cubicBezTo>
                  <a:close/>
                  <a:moveTo>
                    <a:pt x="85725" y="38100"/>
                  </a:moveTo>
                  <a:cubicBezTo>
                    <a:pt x="112027" y="38100"/>
                    <a:pt x="133350" y="58671"/>
                    <a:pt x="133350" y="85725"/>
                  </a:cubicBezTo>
                  <a:cubicBezTo>
                    <a:pt x="133350" y="100663"/>
                    <a:pt x="128144" y="107793"/>
                    <a:pt x="123174" y="114596"/>
                  </a:cubicBezTo>
                  <a:cubicBezTo>
                    <a:pt x="118639" y="120807"/>
                    <a:pt x="114300" y="126748"/>
                    <a:pt x="114300" y="138113"/>
                  </a:cubicBezTo>
                  <a:cubicBezTo>
                    <a:pt x="114300" y="147638"/>
                    <a:pt x="104775" y="152400"/>
                    <a:pt x="85725" y="152400"/>
                  </a:cubicBezTo>
                  <a:cubicBezTo>
                    <a:pt x="66675" y="152400"/>
                    <a:pt x="57150" y="147638"/>
                    <a:pt x="57150" y="138113"/>
                  </a:cubicBezTo>
                  <a:cubicBezTo>
                    <a:pt x="57150" y="126748"/>
                    <a:pt x="52811" y="120807"/>
                    <a:pt x="48275" y="114596"/>
                  </a:cubicBezTo>
                  <a:cubicBezTo>
                    <a:pt x="43306" y="107793"/>
                    <a:pt x="38100" y="100663"/>
                    <a:pt x="38100" y="85725"/>
                  </a:cubicBezTo>
                  <a:cubicBezTo>
                    <a:pt x="38100" y="57150"/>
                    <a:pt x="59422" y="38100"/>
                    <a:pt x="85725" y="38100"/>
                  </a:cubicBezTo>
                  <a:close/>
                  <a:moveTo>
                    <a:pt x="136141" y="21840"/>
                  </a:moveTo>
                  <a:cubicBezTo>
                    <a:pt x="139860" y="18120"/>
                    <a:pt x="145891" y="18120"/>
                    <a:pt x="149611" y="21840"/>
                  </a:cubicBezTo>
                  <a:cubicBezTo>
                    <a:pt x="153330" y="25560"/>
                    <a:pt x="153330" y="31590"/>
                    <a:pt x="149611" y="35310"/>
                  </a:cubicBezTo>
                  <a:lnTo>
                    <a:pt x="140086" y="44835"/>
                  </a:lnTo>
                  <a:cubicBezTo>
                    <a:pt x="136366" y="48555"/>
                    <a:pt x="130335" y="48555"/>
                    <a:pt x="126616" y="44835"/>
                  </a:cubicBezTo>
                  <a:cubicBezTo>
                    <a:pt x="122896" y="41115"/>
                    <a:pt x="122896" y="35085"/>
                    <a:pt x="126616" y="31365"/>
                  </a:cubicBezTo>
                  <a:close/>
                  <a:moveTo>
                    <a:pt x="21840" y="21840"/>
                  </a:moveTo>
                  <a:cubicBezTo>
                    <a:pt x="25560" y="18120"/>
                    <a:pt x="31590" y="18120"/>
                    <a:pt x="35310" y="21840"/>
                  </a:cubicBezTo>
                  <a:lnTo>
                    <a:pt x="44835" y="31365"/>
                  </a:lnTo>
                  <a:cubicBezTo>
                    <a:pt x="48555" y="35085"/>
                    <a:pt x="48555" y="41115"/>
                    <a:pt x="44835" y="44835"/>
                  </a:cubicBezTo>
                  <a:cubicBezTo>
                    <a:pt x="41115" y="48555"/>
                    <a:pt x="35085" y="48555"/>
                    <a:pt x="31365" y="44835"/>
                  </a:cubicBezTo>
                  <a:lnTo>
                    <a:pt x="21840" y="35310"/>
                  </a:lnTo>
                  <a:cubicBezTo>
                    <a:pt x="18120" y="31590"/>
                    <a:pt x="18120" y="25560"/>
                    <a:pt x="21840" y="21840"/>
                  </a:cubicBezTo>
                  <a:close/>
                  <a:moveTo>
                    <a:pt x="85725" y="0"/>
                  </a:moveTo>
                  <a:cubicBezTo>
                    <a:pt x="90986" y="0"/>
                    <a:pt x="95250" y="4265"/>
                    <a:pt x="95250" y="9525"/>
                  </a:cubicBezTo>
                  <a:lnTo>
                    <a:pt x="95250" y="19050"/>
                  </a:lnTo>
                  <a:cubicBezTo>
                    <a:pt x="95250" y="24310"/>
                    <a:pt x="90986" y="28575"/>
                    <a:pt x="85725" y="28575"/>
                  </a:cubicBezTo>
                  <a:cubicBezTo>
                    <a:pt x="80464" y="28575"/>
                    <a:pt x="76200" y="24310"/>
                    <a:pt x="76200" y="19050"/>
                  </a:cubicBezTo>
                  <a:lnTo>
                    <a:pt x="76200" y="9525"/>
                  </a:lnTo>
                  <a:cubicBezTo>
                    <a:pt x="76200" y="4265"/>
                    <a:pt x="80464" y="0"/>
                    <a:pt x="85725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606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799" y="1520824"/>
            <a:ext cx="10911600" cy="4741864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1B8BF84-4C88-A2BF-3322-2EC1F81B3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7200" cy="216000"/>
          </a:xfrm>
        </p:spPr>
        <p:txBody>
          <a:bodyPr/>
          <a:lstStyle>
            <a:lvl1pPr>
              <a:defRPr>
                <a:solidFill>
                  <a:srgbClr val="5A6C7D"/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/>
            </a:lvl1pPr>
          </a:lstStyle>
          <a:p>
            <a:r>
              <a:rPr lang="ru-RU" dirty="0"/>
              <a:t>Сформулируй заголовок </a:t>
            </a:r>
            <a:br>
              <a:rPr lang="en-US" dirty="0"/>
            </a:br>
            <a:r>
              <a:rPr lang="ru-RU" dirty="0"/>
              <a:t>слайда в 1–2 строки</a:t>
            </a:r>
          </a:p>
        </p:txBody>
      </p:sp>
      <p:graphicFrame>
        <p:nvGraphicFramePr>
          <p:cNvPr id="46" name="Таблица 46">
            <a:extLst>
              <a:ext uri="{FF2B5EF4-FFF2-40B4-BE49-F238E27FC236}">
                <a16:creationId xmlns:a16="http://schemas.microsoft.com/office/drawing/2014/main" id="{16AD7780-25A8-C111-96FC-5E75B5A0C4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1093387"/>
              </p:ext>
            </p:extLst>
          </p:nvPr>
        </p:nvGraphicFramePr>
        <p:xfrm>
          <a:off x="-2046114" y="312643"/>
          <a:ext cx="1914309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381792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 dirty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 dirty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3B3C4C6E-EB0B-0D4C-A48E-6F561F737B30}"/>
              </a:ext>
            </a:extLst>
          </p:cNvPr>
          <p:cNvGrpSpPr/>
          <p:nvPr userDrawn="1"/>
        </p:nvGrpSpPr>
        <p:grpSpPr>
          <a:xfrm>
            <a:off x="-2138458" y="3080607"/>
            <a:ext cx="1935384" cy="3777393"/>
            <a:chOff x="-2138458" y="3080607"/>
            <a:chExt cx="1935384" cy="3777393"/>
          </a:xfrm>
        </p:grpSpPr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id="{CEFD538C-FA8E-7FEB-7646-11CBD8E487D7}"/>
                </a:ext>
              </a:extLst>
            </p:cNvPr>
            <p:cNvGrpSpPr/>
            <p:nvPr userDrawn="1"/>
          </p:nvGrpSpPr>
          <p:grpSpPr>
            <a:xfrm>
              <a:off x="-2131314" y="5782119"/>
              <a:ext cx="1928240" cy="1075881"/>
              <a:chOff x="-2131314" y="5782119"/>
              <a:chExt cx="1928240" cy="1075881"/>
            </a:xfrm>
          </p:grpSpPr>
          <p:sp>
            <p:nvSpPr>
              <p:cNvPr id="90" name="Прямоугольник: скругленные углы 89">
                <a:extLst>
                  <a:ext uri="{FF2B5EF4-FFF2-40B4-BE49-F238E27FC236}">
                    <a16:creationId xmlns:a16="http://schemas.microsoft.com/office/drawing/2014/main" id="{9FBBDF2D-B6AA-7C42-E7A8-1F2C6E580F57}"/>
                  </a:ext>
                </a:extLst>
              </p:cNvPr>
              <p:cNvSpPr/>
              <p:nvPr/>
            </p:nvSpPr>
            <p:spPr>
              <a:xfrm>
                <a:off x="-2131314" y="5782119"/>
                <a:ext cx="1928240" cy="1075881"/>
              </a:xfrm>
              <a:prstGeom prst="roundRect">
                <a:avLst>
                  <a:gd name="adj" fmla="val 12985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F9B3039A-0474-03BA-F180-3615605F4E3F}"/>
                  </a:ext>
                </a:extLst>
              </p:cNvPr>
              <p:cNvSpPr txBox="1"/>
              <p:nvPr/>
            </p:nvSpPr>
            <p:spPr>
              <a:xfrm>
                <a:off x="-1788338" y="5868204"/>
                <a:ext cx="1155882" cy="15109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lnSpc>
                    <a:spcPct val="90000"/>
                  </a:lnSpc>
                </a:pPr>
                <a:r>
                  <a:rPr lang="ru-RU" sz="1000" b="1">
                    <a:solidFill>
                      <a:schemeClr val="accent1"/>
                    </a:solidFill>
                  </a:rPr>
                  <a:t>Шаблон </a:t>
                </a:r>
                <a:r>
                  <a:rPr lang="en-US" sz="1000" b="1">
                    <a:solidFill>
                      <a:schemeClr val="accent1"/>
                    </a:solidFill>
                  </a:rPr>
                  <a:t>Ozon</a:t>
                </a:r>
                <a:endParaRPr lang="ru-RU" sz="10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95" name="Рисунок 93">
                <a:extLst>
                  <a:ext uri="{FF2B5EF4-FFF2-40B4-BE49-F238E27FC236}">
                    <a16:creationId xmlns:a16="http://schemas.microsoft.com/office/drawing/2014/main" id="{73304B93-8BA8-B417-7E41-6F569E8C14A0}"/>
                  </a:ext>
                </a:extLst>
              </p:cNvPr>
              <p:cNvSpPr/>
              <p:nvPr/>
            </p:nvSpPr>
            <p:spPr>
              <a:xfrm>
                <a:off x="-2004963" y="5853908"/>
                <a:ext cx="161099" cy="161099"/>
              </a:xfrm>
              <a:custGeom>
                <a:avLst/>
                <a:gdLst>
                  <a:gd name="connsiteX0" fmla="*/ 85725 w 171450"/>
                  <a:gd name="connsiteY0" fmla="*/ 171450 h 171450"/>
                  <a:gd name="connsiteX1" fmla="*/ 171450 w 171450"/>
                  <a:gd name="connsiteY1" fmla="*/ 85725 h 171450"/>
                  <a:gd name="connsiteX2" fmla="*/ 85725 w 171450"/>
                  <a:gd name="connsiteY2" fmla="*/ 0 h 171450"/>
                  <a:gd name="connsiteX3" fmla="*/ 0 w 171450"/>
                  <a:gd name="connsiteY3" fmla="*/ 85725 h 171450"/>
                  <a:gd name="connsiteX4" fmla="*/ 85725 w 171450"/>
                  <a:gd name="connsiteY4" fmla="*/ 171450 h 171450"/>
                  <a:gd name="connsiteX5" fmla="*/ 130560 w 171450"/>
                  <a:gd name="connsiteY5" fmla="*/ 73410 h 171450"/>
                  <a:gd name="connsiteX6" fmla="*/ 82935 w 171450"/>
                  <a:gd name="connsiteY6" fmla="*/ 121035 h 171450"/>
                  <a:gd name="connsiteX7" fmla="*/ 69465 w 171450"/>
                  <a:gd name="connsiteY7" fmla="*/ 121035 h 171450"/>
                  <a:gd name="connsiteX8" fmla="*/ 40890 w 171450"/>
                  <a:gd name="connsiteY8" fmla="*/ 92460 h 171450"/>
                  <a:gd name="connsiteX9" fmla="*/ 40890 w 171450"/>
                  <a:gd name="connsiteY9" fmla="*/ 78990 h 171450"/>
                  <a:gd name="connsiteX10" fmla="*/ 54360 w 171450"/>
                  <a:gd name="connsiteY10" fmla="*/ 78990 h 171450"/>
                  <a:gd name="connsiteX11" fmla="*/ 76200 w 171450"/>
                  <a:gd name="connsiteY11" fmla="*/ 100830 h 171450"/>
                  <a:gd name="connsiteX12" fmla="*/ 117090 w 171450"/>
                  <a:gd name="connsiteY12" fmla="*/ 59940 h 171450"/>
                  <a:gd name="connsiteX13" fmla="*/ 130560 w 171450"/>
                  <a:gd name="connsiteY13" fmla="*/ 59940 h 171450"/>
                  <a:gd name="connsiteX14" fmla="*/ 130560 w 171450"/>
                  <a:gd name="connsiteY14" fmla="*/ 7341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1450" h="171450">
                    <a:moveTo>
                      <a:pt x="85725" y="171450"/>
                    </a:moveTo>
                    <a:cubicBezTo>
                      <a:pt x="138915" y="171450"/>
                      <a:pt x="171450" y="138915"/>
                      <a:pt x="171450" y="85725"/>
                    </a:cubicBezTo>
                    <a:cubicBezTo>
                      <a:pt x="171450" y="32535"/>
                      <a:pt x="138915" y="0"/>
                      <a:pt x="85725" y="0"/>
                    </a:cubicBezTo>
                    <a:cubicBezTo>
                      <a:pt x="32535" y="0"/>
                      <a:pt x="0" y="32535"/>
                      <a:pt x="0" y="85725"/>
                    </a:cubicBezTo>
                    <a:cubicBezTo>
                      <a:pt x="0" y="138915"/>
                      <a:pt x="32535" y="171450"/>
                      <a:pt x="85725" y="171450"/>
                    </a:cubicBezTo>
                    <a:close/>
                    <a:moveTo>
                      <a:pt x="130560" y="73410"/>
                    </a:moveTo>
                    <a:lnTo>
                      <a:pt x="82935" y="121035"/>
                    </a:lnTo>
                    <a:cubicBezTo>
                      <a:pt x="79216" y="124755"/>
                      <a:pt x="73184" y="124755"/>
                      <a:pt x="69465" y="121035"/>
                    </a:cubicBezTo>
                    <a:lnTo>
                      <a:pt x="40890" y="92460"/>
                    </a:lnTo>
                    <a:cubicBezTo>
                      <a:pt x="37170" y="88741"/>
                      <a:pt x="37170" y="82709"/>
                      <a:pt x="40890" y="78990"/>
                    </a:cubicBezTo>
                    <a:cubicBezTo>
                      <a:pt x="44610" y="75270"/>
                      <a:pt x="50640" y="75270"/>
                      <a:pt x="54360" y="78990"/>
                    </a:cubicBezTo>
                    <a:lnTo>
                      <a:pt x="76200" y="100830"/>
                    </a:lnTo>
                    <a:lnTo>
                      <a:pt x="117090" y="59940"/>
                    </a:lnTo>
                    <a:cubicBezTo>
                      <a:pt x="120809" y="56220"/>
                      <a:pt x="126841" y="56220"/>
                      <a:pt x="130560" y="59940"/>
                    </a:cubicBezTo>
                    <a:cubicBezTo>
                      <a:pt x="134280" y="63660"/>
                      <a:pt x="134280" y="69691"/>
                      <a:pt x="130560" y="734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9A64D423-6D96-E041-2DD6-6B8FE1A7051B}"/>
                  </a:ext>
                </a:extLst>
              </p:cNvPr>
              <p:cNvSpPr txBox="1"/>
              <p:nvPr/>
            </p:nvSpPr>
            <p:spPr>
              <a:xfrm>
                <a:off x="-2004962" y="6072106"/>
                <a:ext cx="1687587" cy="60024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>
                  <a:lnSpc>
                    <a:spcPct val="110000"/>
                  </a:lnSpc>
                </a:pPr>
                <a:r>
                  <a:rPr lang="ru-RU" sz="900" spc="-30" baseline="0">
                    <a:solidFill>
                      <a:schemeClr val="tx2"/>
                    </a:solidFill>
                  </a:rPr>
                  <a:t>Если нужно больше материалов: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правое меню </a:t>
                </a:r>
                <a:r>
                  <a:rPr lang="en-US" sz="900" b="1" spc="-30" baseline="0">
                    <a:solidFill>
                      <a:schemeClr val="tx2"/>
                    </a:solidFill>
                  </a:rPr>
                  <a:t>Staff — Brand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— Всё для презентаций. 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Или пиши нам на </a:t>
                </a:r>
                <a:r>
                  <a:rPr lang="en-US" sz="900" b="0" spc="-30" baseline="0">
                    <a:solidFill>
                      <a:schemeClr val="tx2"/>
                    </a:solidFill>
                  </a:rPr>
                  <a:t>presentations@ozon.ru.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 </a:t>
                </a:r>
              </a:p>
            </p:txBody>
          </p:sp>
        </p:grpSp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id="{CA252D23-0362-3ABC-AED3-B98F27A20B40}"/>
                </a:ext>
              </a:extLst>
            </p:cNvPr>
            <p:cNvGrpSpPr/>
            <p:nvPr userDrawn="1"/>
          </p:nvGrpSpPr>
          <p:grpSpPr>
            <a:xfrm>
              <a:off x="-2138458" y="3080607"/>
              <a:ext cx="1928241" cy="2523683"/>
              <a:chOff x="-2138458" y="3070447"/>
              <a:chExt cx="1928241" cy="2523683"/>
            </a:xfrm>
          </p:grpSpPr>
          <p:sp>
            <p:nvSpPr>
              <p:cNvPr id="58" name="Прямоугольник: скругленные углы 57">
                <a:extLst>
                  <a:ext uri="{FF2B5EF4-FFF2-40B4-BE49-F238E27FC236}">
                    <a16:creationId xmlns:a16="http://schemas.microsoft.com/office/drawing/2014/main" id="{F42E0623-38F7-A50B-7CCA-8FA49D784B02}"/>
                  </a:ext>
                </a:extLst>
              </p:cNvPr>
              <p:cNvSpPr/>
              <p:nvPr/>
            </p:nvSpPr>
            <p:spPr>
              <a:xfrm>
                <a:off x="-2138458" y="3125312"/>
                <a:ext cx="1928241" cy="2468818"/>
              </a:xfrm>
              <a:prstGeom prst="roundRect">
                <a:avLst>
                  <a:gd name="adj" fmla="val 5926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9" name="Прямоугольник: скругленные верхние углы 58">
                <a:extLst>
                  <a:ext uri="{FF2B5EF4-FFF2-40B4-BE49-F238E27FC236}">
                    <a16:creationId xmlns:a16="http://schemas.microsoft.com/office/drawing/2014/main" id="{8F041766-36F9-9509-C8B4-40232A368A7F}"/>
                  </a:ext>
                </a:extLst>
              </p:cNvPr>
              <p:cNvSpPr/>
              <p:nvPr/>
            </p:nvSpPr>
            <p:spPr>
              <a:xfrm>
                <a:off x="-2136930" y="3070447"/>
                <a:ext cx="1926713" cy="28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36000" rtlCol="0" anchor="ctr"/>
              <a:lstStyle/>
              <a:p>
                <a:pPr algn="ctr"/>
                <a:r>
                  <a:rPr lang="ru-RU" sz="1100" b="1">
                    <a:solidFill>
                      <a:schemeClr val="tx1"/>
                    </a:solidFill>
                  </a:rPr>
                  <a:t>Цвета </a:t>
                </a:r>
                <a:r>
                  <a:rPr lang="en-US" sz="1100" b="1">
                    <a:solidFill>
                      <a:schemeClr val="tx1"/>
                    </a:solidFill>
                  </a:rPr>
                  <a:t>Ozon</a:t>
                </a:r>
                <a:endParaRPr lang="ru-RU" sz="11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BE8DE30C-D978-9641-8FAD-C2B48D85CE79}"/>
                  </a:ext>
                </a:extLst>
              </p:cNvPr>
              <p:cNvSpPr txBox="1"/>
              <p:nvPr/>
            </p:nvSpPr>
            <p:spPr>
              <a:xfrm>
                <a:off x="-2003446" y="3412239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 dirty="0"/>
                  <a:t>Цвет текста </a:t>
                </a:r>
              </a:p>
            </p:txBody>
          </p:sp>
          <p:sp>
            <p:nvSpPr>
              <p:cNvPr id="62" name="Прямоугольник: скругленные углы 61">
                <a:extLst>
                  <a:ext uri="{FF2B5EF4-FFF2-40B4-BE49-F238E27FC236}">
                    <a16:creationId xmlns:a16="http://schemas.microsoft.com/office/drawing/2014/main" id="{048EF23C-A368-A68F-C5E0-1143EA66DF21}"/>
                  </a:ext>
                </a:extLst>
              </p:cNvPr>
              <p:cNvSpPr/>
              <p:nvPr userDrawn="1"/>
            </p:nvSpPr>
            <p:spPr>
              <a:xfrm>
                <a:off x="-2004344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tx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3" name="Прямоугольник: скругленные углы 62">
                <a:extLst>
                  <a:ext uri="{FF2B5EF4-FFF2-40B4-BE49-F238E27FC236}">
                    <a16:creationId xmlns:a16="http://schemas.microsoft.com/office/drawing/2014/main" id="{A71F8CBF-6A2F-812E-6B09-B4F91F87DC56}"/>
                  </a:ext>
                </a:extLst>
              </p:cNvPr>
              <p:cNvSpPr/>
              <p:nvPr/>
            </p:nvSpPr>
            <p:spPr>
              <a:xfrm>
                <a:off x="-1738339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4" name="Прямоугольник: скругленные углы 63">
                <a:extLst>
                  <a:ext uri="{FF2B5EF4-FFF2-40B4-BE49-F238E27FC236}">
                    <a16:creationId xmlns:a16="http://schemas.microsoft.com/office/drawing/2014/main" id="{5D36134D-A530-1A43-8E23-7A1EA29FD974}"/>
                  </a:ext>
                </a:extLst>
              </p:cNvPr>
              <p:cNvSpPr/>
              <p:nvPr/>
            </p:nvSpPr>
            <p:spPr>
              <a:xfrm>
                <a:off x="-1739900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3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9" name="Прямоугольник: скругленные углы 68">
                <a:extLst>
                  <a:ext uri="{FF2B5EF4-FFF2-40B4-BE49-F238E27FC236}">
                    <a16:creationId xmlns:a16="http://schemas.microsoft.com/office/drawing/2014/main" id="{48DD726A-8157-51D0-7992-ED0334CAEE15}"/>
                  </a:ext>
                </a:extLst>
              </p:cNvPr>
              <p:cNvSpPr/>
              <p:nvPr/>
            </p:nvSpPr>
            <p:spPr>
              <a:xfrm>
                <a:off x="-2004963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8230E83E-9184-027A-2DD2-219E747112A8}"/>
                  </a:ext>
                </a:extLst>
              </p:cNvPr>
              <p:cNvSpPr txBox="1"/>
              <p:nvPr/>
            </p:nvSpPr>
            <p:spPr>
              <a:xfrm>
                <a:off x="-2003446" y="3935644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 больших плашек</a:t>
                </a:r>
              </a:p>
            </p:txBody>
          </p:sp>
          <p:sp>
            <p:nvSpPr>
              <p:cNvPr id="71" name="Прямоугольник: скругленные углы 70">
                <a:extLst>
                  <a:ext uri="{FF2B5EF4-FFF2-40B4-BE49-F238E27FC236}">
                    <a16:creationId xmlns:a16="http://schemas.microsoft.com/office/drawing/2014/main" id="{0C730AAB-CD5C-40B7-905D-4A580D2BC0B4}"/>
                  </a:ext>
                </a:extLst>
              </p:cNvPr>
              <p:cNvSpPr/>
              <p:nvPr/>
            </p:nvSpPr>
            <p:spPr>
              <a:xfrm>
                <a:off x="-1209774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2" name="Прямоугольник: скругленные углы 71">
                <a:extLst>
                  <a:ext uri="{FF2B5EF4-FFF2-40B4-BE49-F238E27FC236}">
                    <a16:creationId xmlns:a16="http://schemas.microsoft.com/office/drawing/2014/main" id="{FB72CAE4-9A5F-F061-A1FA-1E7CF355F8E5}"/>
                  </a:ext>
                </a:extLst>
              </p:cNvPr>
              <p:cNvSpPr/>
              <p:nvPr/>
            </p:nvSpPr>
            <p:spPr>
              <a:xfrm>
                <a:off x="-2004963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5" name="Прямоугольник: скругленные углы 74">
                <a:extLst>
                  <a:ext uri="{FF2B5EF4-FFF2-40B4-BE49-F238E27FC236}">
                    <a16:creationId xmlns:a16="http://schemas.microsoft.com/office/drawing/2014/main" id="{EB57B6F5-6B09-9952-5AEF-46221A63E724}"/>
                  </a:ext>
                </a:extLst>
              </p:cNvPr>
              <p:cNvSpPr/>
              <p:nvPr/>
            </p:nvSpPr>
            <p:spPr>
              <a:xfrm>
                <a:off x="-1475201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5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75EA4B5D-C619-1C5B-4B9C-8E37163B174C}"/>
                  </a:ext>
                </a:extLst>
              </p:cNvPr>
              <p:cNvSpPr txBox="1"/>
              <p:nvPr/>
            </p:nvSpPr>
            <p:spPr>
              <a:xfrm>
                <a:off x="-2003446" y="4451492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а маленьких плашек</a:t>
                </a:r>
              </a:p>
            </p:txBody>
          </p:sp>
          <p:sp>
            <p:nvSpPr>
              <p:cNvPr id="83" name="Прямоугольник: скругленные углы 82">
                <a:extLst>
                  <a:ext uri="{FF2B5EF4-FFF2-40B4-BE49-F238E27FC236}">
                    <a16:creationId xmlns:a16="http://schemas.microsoft.com/office/drawing/2014/main" id="{003CEAB0-FB45-E651-28CB-C992E96682AE}"/>
                  </a:ext>
                </a:extLst>
              </p:cNvPr>
              <p:cNvSpPr/>
              <p:nvPr userDrawn="1"/>
            </p:nvSpPr>
            <p:spPr>
              <a:xfrm>
                <a:off x="-1739900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B7EDC9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4" name="Прямоугольник: скругленные углы 83">
                <a:extLst>
                  <a:ext uri="{FF2B5EF4-FFF2-40B4-BE49-F238E27FC236}">
                    <a16:creationId xmlns:a16="http://schemas.microsoft.com/office/drawing/2014/main" id="{D8A87001-7504-170C-42DA-1C8955C7E5E9}"/>
                  </a:ext>
                </a:extLst>
              </p:cNvPr>
              <p:cNvSpPr/>
              <p:nvPr/>
            </p:nvSpPr>
            <p:spPr>
              <a:xfrm>
                <a:off x="-1474837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A800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5" name="Прямоугольник: скругленные углы 84">
                <a:extLst>
                  <a:ext uri="{FF2B5EF4-FFF2-40B4-BE49-F238E27FC236}">
                    <a16:creationId xmlns:a16="http://schemas.microsoft.com/office/drawing/2014/main" id="{4115BFEA-91B0-7165-C99B-6D9CA6EE0ECB}"/>
                  </a:ext>
                </a:extLst>
              </p:cNvPr>
              <p:cNvSpPr/>
              <p:nvPr/>
            </p:nvSpPr>
            <p:spPr>
              <a:xfrm>
                <a:off x="-2004963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10C44C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A6B2DE75-2183-A2E6-268C-6B4288D2864C}"/>
                  </a:ext>
                </a:extLst>
              </p:cNvPr>
              <p:cNvSpPr txBox="1"/>
              <p:nvPr/>
            </p:nvSpPr>
            <p:spPr>
              <a:xfrm>
                <a:off x="-2003446" y="4973480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900"/>
                  <a:t>Рост / падение показателей</a:t>
                </a:r>
              </a:p>
            </p:txBody>
          </p:sp>
          <p:sp>
            <p:nvSpPr>
              <p:cNvPr id="14" name="Прямоугольник: скругленные углы 13">
                <a:extLst>
                  <a:ext uri="{FF2B5EF4-FFF2-40B4-BE49-F238E27FC236}">
                    <a16:creationId xmlns:a16="http://schemas.microsoft.com/office/drawing/2014/main" id="{AC3E90A0-A83D-7E29-F145-AA600291AE0C}"/>
                  </a:ext>
                </a:extLst>
              </p:cNvPr>
              <p:cNvSpPr/>
              <p:nvPr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5" name="Прямоугольник: скругленные углы 14">
                <a:extLst>
                  <a:ext uri="{FF2B5EF4-FFF2-40B4-BE49-F238E27FC236}">
                    <a16:creationId xmlns:a16="http://schemas.microsoft.com/office/drawing/2014/main" id="{B99D43E0-49F1-8209-4F98-5262F28AC1A9}"/>
                  </a:ext>
                </a:extLst>
              </p:cNvPr>
              <p:cNvSpPr/>
              <p:nvPr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6" name="Прямоугольник: скругленные углы 15">
                <a:extLst>
                  <a:ext uri="{FF2B5EF4-FFF2-40B4-BE49-F238E27FC236}">
                    <a16:creationId xmlns:a16="http://schemas.microsoft.com/office/drawing/2014/main" id="{BCEC3CD9-44E1-EECA-E818-76B9BFE7DD61}"/>
                  </a:ext>
                </a:extLst>
              </p:cNvPr>
              <p:cNvSpPr/>
              <p:nvPr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1" name="Прямоугольник: скругленные углы 20">
                <a:extLst>
                  <a:ext uri="{FF2B5EF4-FFF2-40B4-BE49-F238E27FC236}">
                    <a16:creationId xmlns:a16="http://schemas.microsoft.com/office/drawing/2014/main" id="{543906E8-9B34-89C2-4269-843FAD6EA354}"/>
                  </a:ext>
                </a:extLst>
              </p:cNvPr>
              <p:cNvSpPr/>
              <p:nvPr userDrawn="1"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2" name="Прямоугольник: скругленные углы 21">
                <a:extLst>
                  <a:ext uri="{FF2B5EF4-FFF2-40B4-BE49-F238E27FC236}">
                    <a16:creationId xmlns:a16="http://schemas.microsoft.com/office/drawing/2014/main" id="{C8C80097-0ECD-AAAD-2C0F-1869371B37D0}"/>
                  </a:ext>
                </a:extLst>
              </p:cNvPr>
              <p:cNvSpPr/>
              <p:nvPr userDrawn="1"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" name="Прямоугольник: скругленные углы 22">
                <a:extLst>
                  <a:ext uri="{FF2B5EF4-FFF2-40B4-BE49-F238E27FC236}">
                    <a16:creationId xmlns:a16="http://schemas.microsoft.com/office/drawing/2014/main" id="{AB934DEE-0052-5D57-1578-12DF5ADB4828}"/>
                  </a:ext>
                </a:extLst>
              </p:cNvPr>
              <p:cNvSpPr/>
              <p:nvPr userDrawn="1"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2" name="Прямоугольник: скругленные углы 79">
                <a:extLst>
                  <a:ext uri="{FF2B5EF4-FFF2-40B4-BE49-F238E27FC236}">
                    <a16:creationId xmlns:a16="http://schemas.microsoft.com/office/drawing/2014/main" id="{4D92696F-DED9-0846-BD85-2E730744F4B6}"/>
                  </a:ext>
                </a:extLst>
              </p:cNvPr>
              <p:cNvSpPr/>
              <p:nvPr userDrawn="1"/>
            </p:nvSpPr>
            <p:spPr>
              <a:xfrm>
                <a:off x="-1735356" y="4136975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3" name="Прямоугольник: скругленные углы 63">
                <a:extLst>
                  <a:ext uri="{FF2B5EF4-FFF2-40B4-BE49-F238E27FC236}">
                    <a16:creationId xmlns:a16="http://schemas.microsoft.com/office/drawing/2014/main" id="{7C96BD48-7945-6540-9642-8C6F2D64646E}"/>
                  </a:ext>
                </a:extLst>
              </p:cNvPr>
              <p:cNvSpPr/>
              <p:nvPr userDrawn="1"/>
            </p:nvSpPr>
            <p:spPr>
              <a:xfrm>
                <a:off x="-1476289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sp>
        <p:nvSpPr>
          <p:cNvPr id="45" name="Нижний колонтитул 4">
            <a:extLst>
              <a:ext uri="{FF2B5EF4-FFF2-40B4-BE49-F238E27FC236}">
                <a16:creationId xmlns:a16="http://schemas.microsoft.com/office/drawing/2014/main" id="{E640122E-D722-FB4B-A1F8-B1FDEA3ACD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rgbClr val="5A6C7D"/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61196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_ligh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606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2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985CD6E-087D-7D18-E079-FFF35855D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rgbClr val="5A6C7D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1B8BF84-4C88-A2BF-3322-2EC1F81B3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6000" y="6429600"/>
            <a:ext cx="908050" cy="216000"/>
          </a:xfrm>
        </p:spPr>
        <p:txBody>
          <a:bodyPr/>
          <a:lstStyle>
            <a:lvl1pPr>
              <a:defRPr>
                <a:solidFill>
                  <a:srgbClr val="5A6C7D"/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764" y="411164"/>
            <a:ext cx="10910888" cy="3588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spc="-30" baseline="0"/>
            </a:lvl1pPr>
          </a:lstStyle>
          <a:p>
            <a:r>
              <a:rPr lang="ru-RU" dirty="0"/>
              <a:t>Сформулируй заголовок слайда в 1 строку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FAE66B39-11DA-D324-553B-5881569B31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763" y="833072"/>
            <a:ext cx="10910887" cy="358858"/>
          </a:xfrm>
        </p:spPr>
        <p:txBody>
          <a:bodyPr/>
          <a:lstStyle>
            <a:lvl1pPr>
              <a:lnSpc>
                <a:spcPct val="90000"/>
              </a:lnSpc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Сформулируй подзаголовок в 1–2 строки</a:t>
            </a:r>
          </a:p>
        </p:txBody>
      </p:sp>
      <p:sp>
        <p:nvSpPr>
          <p:cNvPr id="75" name="Прямоугольник: скругленные углы 74">
            <a:extLst>
              <a:ext uri="{FF2B5EF4-FFF2-40B4-BE49-F238E27FC236}">
                <a16:creationId xmlns:a16="http://schemas.microsoft.com/office/drawing/2014/main" id="{DF5E2D97-5CF6-49E5-FAB9-9659DF2507A6}"/>
              </a:ext>
            </a:extLst>
          </p:cNvPr>
          <p:cNvSpPr/>
          <p:nvPr userDrawn="1"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Прямоугольник: скругленные верхние углы 75">
            <a:extLst>
              <a:ext uri="{FF2B5EF4-FFF2-40B4-BE49-F238E27FC236}">
                <a16:creationId xmlns:a16="http://schemas.microsoft.com/office/drawing/2014/main" id="{28CEFC34-7B9B-7027-F0C6-03A2D7926408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77" name="Таблица 46">
            <a:extLst>
              <a:ext uri="{FF2B5EF4-FFF2-40B4-BE49-F238E27FC236}">
                <a16:creationId xmlns:a16="http://schemas.microsoft.com/office/drawing/2014/main" id="{0E1EE163-8104-8ED7-61EC-1B745BD881D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94885169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78" name="TextBox 77">
            <a:extLst>
              <a:ext uri="{FF2B5EF4-FFF2-40B4-BE49-F238E27FC236}">
                <a16:creationId xmlns:a16="http://schemas.microsoft.com/office/drawing/2014/main" id="{5E880C56-CF09-F9D4-114E-504DB800D737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79" name="Полилиния: фигура 78">
            <a:extLst>
              <a:ext uri="{FF2B5EF4-FFF2-40B4-BE49-F238E27FC236}">
                <a16:creationId xmlns:a16="http://schemas.microsoft.com/office/drawing/2014/main" id="{DC17A6B4-AD4C-D614-D3EF-7B29139B7D33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14" name="Группа 113">
            <a:extLst>
              <a:ext uri="{FF2B5EF4-FFF2-40B4-BE49-F238E27FC236}">
                <a16:creationId xmlns:a16="http://schemas.microsoft.com/office/drawing/2014/main" id="{1DB60FFA-738D-6045-837A-4E00FBB46420}"/>
              </a:ext>
            </a:extLst>
          </p:cNvPr>
          <p:cNvGrpSpPr/>
          <p:nvPr userDrawn="1"/>
        </p:nvGrpSpPr>
        <p:grpSpPr>
          <a:xfrm>
            <a:off x="-2138458" y="3080607"/>
            <a:ext cx="1935384" cy="3777393"/>
            <a:chOff x="-2138458" y="3080607"/>
            <a:chExt cx="1935384" cy="3777393"/>
          </a:xfrm>
        </p:grpSpPr>
        <p:grpSp>
          <p:nvGrpSpPr>
            <p:cNvPr id="115" name="Группа 114">
              <a:extLst>
                <a:ext uri="{FF2B5EF4-FFF2-40B4-BE49-F238E27FC236}">
                  <a16:creationId xmlns:a16="http://schemas.microsoft.com/office/drawing/2014/main" id="{1047FD88-C264-254B-A630-89C07142DE7C}"/>
                </a:ext>
              </a:extLst>
            </p:cNvPr>
            <p:cNvGrpSpPr/>
            <p:nvPr userDrawn="1"/>
          </p:nvGrpSpPr>
          <p:grpSpPr>
            <a:xfrm>
              <a:off x="-2131314" y="5782119"/>
              <a:ext cx="1928240" cy="1075881"/>
              <a:chOff x="-2131314" y="5782119"/>
              <a:chExt cx="1928240" cy="1075881"/>
            </a:xfrm>
          </p:grpSpPr>
          <p:sp>
            <p:nvSpPr>
              <p:cNvPr id="141" name="Прямоугольник: скругленные углы 89">
                <a:extLst>
                  <a:ext uri="{FF2B5EF4-FFF2-40B4-BE49-F238E27FC236}">
                    <a16:creationId xmlns:a16="http://schemas.microsoft.com/office/drawing/2014/main" id="{BAE6F0E7-0D0E-9A42-A15B-980E2A91653E}"/>
                  </a:ext>
                </a:extLst>
              </p:cNvPr>
              <p:cNvSpPr/>
              <p:nvPr/>
            </p:nvSpPr>
            <p:spPr>
              <a:xfrm>
                <a:off x="-2131314" y="5782119"/>
                <a:ext cx="1928240" cy="1075881"/>
              </a:xfrm>
              <a:prstGeom prst="roundRect">
                <a:avLst>
                  <a:gd name="adj" fmla="val 12985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2" name="TextBox 141">
                <a:extLst>
                  <a:ext uri="{FF2B5EF4-FFF2-40B4-BE49-F238E27FC236}">
                    <a16:creationId xmlns:a16="http://schemas.microsoft.com/office/drawing/2014/main" id="{1F6B1124-9D77-DF45-94BA-7FFE6C310726}"/>
                  </a:ext>
                </a:extLst>
              </p:cNvPr>
              <p:cNvSpPr txBox="1"/>
              <p:nvPr/>
            </p:nvSpPr>
            <p:spPr>
              <a:xfrm>
                <a:off x="-1788338" y="5868204"/>
                <a:ext cx="1155882" cy="15109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lnSpc>
                    <a:spcPct val="90000"/>
                  </a:lnSpc>
                </a:pPr>
                <a:r>
                  <a:rPr lang="ru-RU" sz="1000" b="1">
                    <a:solidFill>
                      <a:schemeClr val="accent1"/>
                    </a:solidFill>
                  </a:rPr>
                  <a:t>Шаблон </a:t>
                </a:r>
                <a:r>
                  <a:rPr lang="en-US" sz="1000" b="1">
                    <a:solidFill>
                      <a:schemeClr val="accent1"/>
                    </a:solidFill>
                  </a:rPr>
                  <a:t>Ozon</a:t>
                </a:r>
                <a:endParaRPr lang="ru-RU" sz="10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43" name="Рисунок 93">
                <a:extLst>
                  <a:ext uri="{FF2B5EF4-FFF2-40B4-BE49-F238E27FC236}">
                    <a16:creationId xmlns:a16="http://schemas.microsoft.com/office/drawing/2014/main" id="{0228B513-A00D-0D46-8B66-BFB85B6B3C70}"/>
                  </a:ext>
                </a:extLst>
              </p:cNvPr>
              <p:cNvSpPr/>
              <p:nvPr/>
            </p:nvSpPr>
            <p:spPr>
              <a:xfrm>
                <a:off x="-2004963" y="5853908"/>
                <a:ext cx="161099" cy="161099"/>
              </a:xfrm>
              <a:custGeom>
                <a:avLst/>
                <a:gdLst>
                  <a:gd name="connsiteX0" fmla="*/ 85725 w 171450"/>
                  <a:gd name="connsiteY0" fmla="*/ 171450 h 171450"/>
                  <a:gd name="connsiteX1" fmla="*/ 171450 w 171450"/>
                  <a:gd name="connsiteY1" fmla="*/ 85725 h 171450"/>
                  <a:gd name="connsiteX2" fmla="*/ 85725 w 171450"/>
                  <a:gd name="connsiteY2" fmla="*/ 0 h 171450"/>
                  <a:gd name="connsiteX3" fmla="*/ 0 w 171450"/>
                  <a:gd name="connsiteY3" fmla="*/ 85725 h 171450"/>
                  <a:gd name="connsiteX4" fmla="*/ 85725 w 171450"/>
                  <a:gd name="connsiteY4" fmla="*/ 171450 h 171450"/>
                  <a:gd name="connsiteX5" fmla="*/ 130560 w 171450"/>
                  <a:gd name="connsiteY5" fmla="*/ 73410 h 171450"/>
                  <a:gd name="connsiteX6" fmla="*/ 82935 w 171450"/>
                  <a:gd name="connsiteY6" fmla="*/ 121035 h 171450"/>
                  <a:gd name="connsiteX7" fmla="*/ 69465 w 171450"/>
                  <a:gd name="connsiteY7" fmla="*/ 121035 h 171450"/>
                  <a:gd name="connsiteX8" fmla="*/ 40890 w 171450"/>
                  <a:gd name="connsiteY8" fmla="*/ 92460 h 171450"/>
                  <a:gd name="connsiteX9" fmla="*/ 40890 w 171450"/>
                  <a:gd name="connsiteY9" fmla="*/ 78990 h 171450"/>
                  <a:gd name="connsiteX10" fmla="*/ 54360 w 171450"/>
                  <a:gd name="connsiteY10" fmla="*/ 78990 h 171450"/>
                  <a:gd name="connsiteX11" fmla="*/ 76200 w 171450"/>
                  <a:gd name="connsiteY11" fmla="*/ 100830 h 171450"/>
                  <a:gd name="connsiteX12" fmla="*/ 117090 w 171450"/>
                  <a:gd name="connsiteY12" fmla="*/ 59940 h 171450"/>
                  <a:gd name="connsiteX13" fmla="*/ 130560 w 171450"/>
                  <a:gd name="connsiteY13" fmla="*/ 59940 h 171450"/>
                  <a:gd name="connsiteX14" fmla="*/ 130560 w 171450"/>
                  <a:gd name="connsiteY14" fmla="*/ 7341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1450" h="171450">
                    <a:moveTo>
                      <a:pt x="85725" y="171450"/>
                    </a:moveTo>
                    <a:cubicBezTo>
                      <a:pt x="138915" y="171450"/>
                      <a:pt x="171450" y="138915"/>
                      <a:pt x="171450" y="85725"/>
                    </a:cubicBezTo>
                    <a:cubicBezTo>
                      <a:pt x="171450" y="32535"/>
                      <a:pt x="138915" y="0"/>
                      <a:pt x="85725" y="0"/>
                    </a:cubicBezTo>
                    <a:cubicBezTo>
                      <a:pt x="32535" y="0"/>
                      <a:pt x="0" y="32535"/>
                      <a:pt x="0" y="85725"/>
                    </a:cubicBezTo>
                    <a:cubicBezTo>
                      <a:pt x="0" y="138915"/>
                      <a:pt x="32535" y="171450"/>
                      <a:pt x="85725" y="171450"/>
                    </a:cubicBezTo>
                    <a:close/>
                    <a:moveTo>
                      <a:pt x="130560" y="73410"/>
                    </a:moveTo>
                    <a:lnTo>
                      <a:pt x="82935" y="121035"/>
                    </a:lnTo>
                    <a:cubicBezTo>
                      <a:pt x="79216" y="124755"/>
                      <a:pt x="73184" y="124755"/>
                      <a:pt x="69465" y="121035"/>
                    </a:cubicBezTo>
                    <a:lnTo>
                      <a:pt x="40890" y="92460"/>
                    </a:lnTo>
                    <a:cubicBezTo>
                      <a:pt x="37170" y="88741"/>
                      <a:pt x="37170" y="82709"/>
                      <a:pt x="40890" y="78990"/>
                    </a:cubicBezTo>
                    <a:cubicBezTo>
                      <a:pt x="44610" y="75270"/>
                      <a:pt x="50640" y="75270"/>
                      <a:pt x="54360" y="78990"/>
                    </a:cubicBezTo>
                    <a:lnTo>
                      <a:pt x="76200" y="100830"/>
                    </a:lnTo>
                    <a:lnTo>
                      <a:pt x="117090" y="59940"/>
                    </a:lnTo>
                    <a:cubicBezTo>
                      <a:pt x="120809" y="56220"/>
                      <a:pt x="126841" y="56220"/>
                      <a:pt x="130560" y="59940"/>
                    </a:cubicBezTo>
                    <a:cubicBezTo>
                      <a:pt x="134280" y="63660"/>
                      <a:pt x="134280" y="69691"/>
                      <a:pt x="130560" y="734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4" name="TextBox 143">
                <a:extLst>
                  <a:ext uri="{FF2B5EF4-FFF2-40B4-BE49-F238E27FC236}">
                    <a16:creationId xmlns:a16="http://schemas.microsoft.com/office/drawing/2014/main" id="{1CBB12E0-3F6E-CA46-B003-0D912C261977}"/>
                  </a:ext>
                </a:extLst>
              </p:cNvPr>
              <p:cNvSpPr txBox="1"/>
              <p:nvPr/>
            </p:nvSpPr>
            <p:spPr>
              <a:xfrm>
                <a:off x="-2004962" y="6072106"/>
                <a:ext cx="1687587" cy="60024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>
                  <a:lnSpc>
                    <a:spcPct val="110000"/>
                  </a:lnSpc>
                </a:pPr>
                <a:r>
                  <a:rPr lang="ru-RU" sz="900" spc="-30" baseline="0">
                    <a:solidFill>
                      <a:schemeClr val="tx2"/>
                    </a:solidFill>
                  </a:rPr>
                  <a:t>Если нужно больше материалов: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правое меню </a:t>
                </a:r>
                <a:r>
                  <a:rPr lang="en-US" sz="900" b="1" spc="-30" baseline="0">
                    <a:solidFill>
                      <a:schemeClr val="tx2"/>
                    </a:solidFill>
                  </a:rPr>
                  <a:t>Staff — Brand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— Всё для презентаций. 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Или пиши нам на </a:t>
                </a:r>
                <a:r>
                  <a:rPr lang="en-US" sz="900" b="0" spc="-30" baseline="0">
                    <a:solidFill>
                      <a:schemeClr val="tx2"/>
                    </a:solidFill>
                  </a:rPr>
                  <a:t>presentations@ozon.ru.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 </a:t>
                </a:r>
              </a:p>
            </p:txBody>
          </p:sp>
        </p:grpSp>
        <p:grpSp>
          <p:nvGrpSpPr>
            <p:cNvPr id="116" name="Группа 115">
              <a:extLst>
                <a:ext uri="{FF2B5EF4-FFF2-40B4-BE49-F238E27FC236}">
                  <a16:creationId xmlns:a16="http://schemas.microsoft.com/office/drawing/2014/main" id="{91ACE51C-BB38-4445-BB89-49E21A0B3A8A}"/>
                </a:ext>
              </a:extLst>
            </p:cNvPr>
            <p:cNvGrpSpPr/>
            <p:nvPr userDrawn="1"/>
          </p:nvGrpSpPr>
          <p:grpSpPr>
            <a:xfrm>
              <a:off x="-2138458" y="3080607"/>
              <a:ext cx="1928241" cy="2523683"/>
              <a:chOff x="-2138458" y="3070447"/>
              <a:chExt cx="1928241" cy="2523683"/>
            </a:xfrm>
          </p:grpSpPr>
          <p:sp>
            <p:nvSpPr>
              <p:cNvPr id="117" name="Прямоугольник: скругленные углы 57">
                <a:extLst>
                  <a:ext uri="{FF2B5EF4-FFF2-40B4-BE49-F238E27FC236}">
                    <a16:creationId xmlns:a16="http://schemas.microsoft.com/office/drawing/2014/main" id="{FA0ED545-CDA8-F549-ACE8-99DABA47D2B0}"/>
                  </a:ext>
                </a:extLst>
              </p:cNvPr>
              <p:cNvSpPr/>
              <p:nvPr/>
            </p:nvSpPr>
            <p:spPr>
              <a:xfrm>
                <a:off x="-2138458" y="3125312"/>
                <a:ext cx="1928241" cy="2468818"/>
              </a:xfrm>
              <a:prstGeom prst="roundRect">
                <a:avLst>
                  <a:gd name="adj" fmla="val 5926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8" name="Прямоугольник: скругленные верхние углы 58">
                <a:extLst>
                  <a:ext uri="{FF2B5EF4-FFF2-40B4-BE49-F238E27FC236}">
                    <a16:creationId xmlns:a16="http://schemas.microsoft.com/office/drawing/2014/main" id="{FBB814F1-D0AA-044F-A837-6972949F7DE1}"/>
                  </a:ext>
                </a:extLst>
              </p:cNvPr>
              <p:cNvSpPr/>
              <p:nvPr/>
            </p:nvSpPr>
            <p:spPr>
              <a:xfrm>
                <a:off x="-2136930" y="3070447"/>
                <a:ext cx="1926713" cy="28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36000" rtlCol="0" anchor="ctr"/>
              <a:lstStyle/>
              <a:p>
                <a:pPr algn="ctr"/>
                <a:r>
                  <a:rPr lang="ru-RU" sz="1100" b="1">
                    <a:solidFill>
                      <a:schemeClr val="tx1"/>
                    </a:solidFill>
                  </a:rPr>
                  <a:t>Цвета </a:t>
                </a:r>
                <a:r>
                  <a:rPr lang="en-US" sz="1100" b="1">
                    <a:solidFill>
                      <a:schemeClr val="tx1"/>
                    </a:solidFill>
                  </a:rPr>
                  <a:t>Ozon</a:t>
                </a:r>
                <a:endParaRPr lang="ru-RU" sz="11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F54CC9C5-8F2E-2E4E-A7C1-E2B74D876FF9}"/>
                  </a:ext>
                </a:extLst>
              </p:cNvPr>
              <p:cNvSpPr txBox="1"/>
              <p:nvPr/>
            </p:nvSpPr>
            <p:spPr>
              <a:xfrm>
                <a:off x="-2003446" y="3412239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 dirty="0"/>
                  <a:t>Цвет текста </a:t>
                </a:r>
              </a:p>
            </p:txBody>
          </p:sp>
          <p:sp>
            <p:nvSpPr>
              <p:cNvPr id="120" name="Прямоугольник: скругленные углы 61">
                <a:extLst>
                  <a:ext uri="{FF2B5EF4-FFF2-40B4-BE49-F238E27FC236}">
                    <a16:creationId xmlns:a16="http://schemas.microsoft.com/office/drawing/2014/main" id="{06597B6C-F31E-0043-9711-0059EB7573A9}"/>
                  </a:ext>
                </a:extLst>
              </p:cNvPr>
              <p:cNvSpPr/>
              <p:nvPr userDrawn="1"/>
            </p:nvSpPr>
            <p:spPr>
              <a:xfrm>
                <a:off x="-2004344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tx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1" name="Прямоугольник: скругленные углы 62">
                <a:extLst>
                  <a:ext uri="{FF2B5EF4-FFF2-40B4-BE49-F238E27FC236}">
                    <a16:creationId xmlns:a16="http://schemas.microsoft.com/office/drawing/2014/main" id="{A5E9401C-762A-2944-B381-6922E6C30238}"/>
                  </a:ext>
                </a:extLst>
              </p:cNvPr>
              <p:cNvSpPr/>
              <p:nvPr/>
            </p:nvSpPr>
            <p:spPr>
              <a:xfrm>
                <a:off x="-1738339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2" name="Прямоугольник: скругленные углы 63">
                <a:extLst>
                  <a:ext uri="{FF2B5EF4-FFF2-40B4-BE49-F238E27FC236}">
                    <a16:creationId xmlns:a16="http://schemas.microsoft.com/office/drawing/2014/main" id="{C4EB1874-4CDE-9541-8C11-0E0B5C8A64BA}"/>
                  </a:ext>
                </a:extLst>
              </p:cNvPr>
              <p:cNvSpPr/>
              <p:nvPr/>
            </p:nvSpPr>
            <p:spPr>
              <a:xfrm>
                <a:off x="-1739900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3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3" name="Прямоугольник: скругленные углы 68">
                <a:extLst>
                  <a:ext uri="{FF2B5EF4-FFF2-40B4-BE49-F238E27FC236}">
                    <a16:creationId xmlns:a16="http://schemas.microsoft.com/office/drawing/2014/main" id="{DF504DB6-5FE5-0C4D-9300-2A74A83D6B84}"/>
                  </a:ext>
                </a:extLst>
              </p:cNvPr>
              <p:cNvSpPr/>
              <p:nvPr/>
            </p:nvSpPr>
            <p:spPr>
              <a:xfrm>
                <a:off x="-2004963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5F1BE16A-089F-3B4B-979C-4E824CE569B9}"/>
                  </a:ext>
                </a:extLst>
              </p:cNvPr>
              <p:cNvSpPr txBox="1"/>
              <p:nvPr/>
            </p:nvSpPr>
            <p:spPr>
              <a:xfrm>
                <a:off x="-2003446" y="3935644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 больших плашек</a:t>
                </a:r>
              </a:p>
            </p:txBody>
          </p:sp>
          <p:sp>
            <p:nvSpPr>
              <p:cNvPr id="125" name="Прямоугольник: скругленные углы 70">
                <a:extLst>
                  <a:ext uri="{FF2B5EF4-FFF2-40B4-BE49-F238E27FC236}">
                    <a16:creationId xmlns:a16="http://schemas.microsoft.com/office/drawing/2014/main" id="{6461EA0C-BCBF-AD4F-9C13-6CB746AEEE43}"/>
                  </a:ext>
                </a:extLst>
              </p:cNvPr>
              <p:cNvSpPr/>
              <p:nvPr/>
            </p:nvSpPr>
            <p:spPr>
              <a:xfrm>
                <a:off x="-1209774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6" name="Прямоугольник: скругленные углы 71">
                <a:extLst>
                  <a:ext uri="{FF2B5EF4-FFF2-40B4-BE49-F238E27FC236}">
                    <a16:creationId xmlns:a16="http://schemas.microsoft.com/office/drawing/2014/main" id="{1F6CBFBE-7F66-EA4B-B6C2-2696564E0709}"/>
                  </a:ext>
                </a:extLst>
              </p:cNvPr>
              <p:cNvSpPr/>
              <p:nvPr/>
            </p:nvSpPr>
            <p:spPr>
              <a:xfrm>
                <a:off x="-2004963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7" name="Прямоугольник: скругленные углы 74">
                <a:extLst>
                  <a:ext uri="{FF2B5EF4-FFF2-40B4-BE49-F238E27FC236}">
                    <a16:creationId xmlns:a16="http://schemas.microsoft.com/office/drawing/2014/main" id="{338A988E-91AF-E74D-BC08-F9A00057B1C2}"/>
                  </a:ext>
                </a:extLst>
              </p:cNvPr>
              <p:cNvSpPr/>
              <p:nvPr/>
            </p:nvSpPr>
            <p:spPr>
              <a:xfrm>
                <a:off x="-1475201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5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17CDB3F3-D417-364A-8A47-1EF7FE4C87A4}"/>
                  </a:ext>
                </a:extLst>
              </p:cNvPr>
              <p:cNvSpPr txBox="1"/>
              <p:nvPr/>
            </p:nvSpPr>
            <p:spPr>
              <a:xfrm>
                <a:off x="-2003446" y="4451492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а маленьких плашек</a:t>
                </a:r>
              </a:p>
            </p:txBody>
          </p:sp>
          <p:sp>
            <p:nvSpPr>
              <p:cNvPr id="129" name="Прямоугольник: скругленные углы 82">
                <a:extLst>
                  <a:ext uri="{FF2B5EF4-FFF2-40B4-BE49-F238E27FC236}">
                    <a16:creationId xmlns:a16="http://schemas.microsoft.com/office/drawing/2014/main" id="{0D481F14-A897-4A4A-9276-51E211051C5E}"/>
                  </a:ext>
                </a:extLst>
              </p:cNvPr>
              <p:cNvSpPr/>
              <p:nvPr userDrawn="1"/>
            </p:nvSpPr>
            <p:spPr>
              <a:xfrm>
                <a:off x="-1739900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B7EDC9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0" name="Прямоугольник: скругленные углы 83">
                <a:extLst>
                  <a:ext uri="{FF2B5EF4-FFF2-40B4-BE49-F238E27FC236}">
                    <a16:creationId xmlns:a16="http://schemas.microsoft.com/office/drawing/2014/main" id="{756C79EB-FFCF-924D-9CA6-341E9FF16BFF}"/>
                  </a:ext>
                </a:extLst>
              </p:cNvPr>
              <p:cNvSpPr/>
              <p:nvPr/>
            </p:nvSpPr>
            <p:spPr>
              <a:xfrm>
                <a:off x="-1474837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A800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1" name="Прямоугольник: скругленные углы 84">
                <a:extLst>
                  <a:ext uri="{FF2B5EF4-FFF2-40B4-BE49-F238E27FC236}">
                    <a16:creationId xmlns:a16="http://schemas.microsoft.com/office/drawing/2014/main" id="{4FEA62CC-C8DF-CB4D-B88E-6F018239E4A9}"/>
                  </a:ext>
                </a:extLst>
              </p:cNvPr>
              <p:cNvSpPr/>
              <p:nvPr/>
            </p:nvSpPr>
            <p:spPr>
              <a:xfrm>
                <a:off x="-2004963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10C44C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A6342771-3FF1-6A46-B459-7C0A8E85929D}"/>
                  </a:ext>
                </a:extLst>
              </p:cNvPr>
              <p:cNvSpPr txBox="1"/>
              <p:nvPr/>
            </p:nvSpPr>
            <p:spPr>
              <a:xfrm>
                <a:off x="-2003446" y="4973480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900"/>
                  <a:t>Рост / падение показателей</a:t>
                </a:r>
              </a:p>
            </p:txBody>
          </p:sp>
          <p:sp>
            <p:nvSpPr>
              <p:cNvPr id="133" name="Прямоугольник: скругленные углы 13">
                <a:extLst>
                  <a:ext uri="{FF2B5EF4-FFF2-40B4-BE49-F238E27FC236}">
                    <a16:creationId xmlns:a16="http://schemas.microsoft.com/office/drawing/2014/main" id="{F3D76818-BB4D-6841-9C5B-855CFBFA0A8E}"/>
                  </a:ext>
                </a:extLst>
              </p:cNvPr>
              <p:cNvSpPr/>
              <p:nvPr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4" name="Прямоугольник: скругленные углы 14">
                <a:extLst>
                  <a:ext uri="{FF2B5EF4-FFF2-40B4-BE49-F238E27FC236}">
                    <a16:creationId xmlns:a16="http://schemas.microsoft.com/office/drawing/2014/main" id="{840E1A9B-7764-E241-BB61-703F7FA22BD0}"/>
                  </a:ext>
                </a:extLst>
              </p:cNvPr>
              <p:cNvSpPr/>
              <p:nvPr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5" name="Прямоугольник: скругленные углы 15">
                <a:extLst>
                  <a:ext uri="{FF2B5EF4-FFF2-40B4-BE49-F238E27FC236}">
                    <a16:creationId xmlns:a16="http://schemas.microsoft.com/office/drawing/2014/main" id="{1E3DFBFF-5423-7948-89D1-AE0ECB21A5C8}"/>
                  </a:ext>
                </a:extLst>
              </p:cNvPr>
              <p:cNvSpPr/>
              <p:nvPr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6" name="Прямоугольник: скругленные углы 20">
                <a:extLst>
                  <a:ext uri="{FF2B5EF4-FFF2-40B4-BE49-F238E27FC236}">
                    <a16:creationId xmlns:a16="http://schemas.microsoft.com/office/drawing/2014/main" id="{3C5F50C8-799A-6646-86F5-2AFCAE559C5D}"/>
                  </a:ext>
                </a:extLst>
              </p:cNvPr>
              <p:cNvSpPr/>
              <p:nvPr userDrawn="1"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7" name="Прямоугольник: скругленные углы 21">
                <a:extLst>
                  <a:ext uri="{FF2B5EF4-FFF2-40B4-BE49-F238E27FC236}">
                    <a16:creationId xmlns:a16="http://schemas.microsoft.com/office/drawing/2014/main" id="{BB799AC8-1839-4E46-980A-1680D0F2559E}"/>
                  </a:ext>
                </a:extLst>
              </p:cNvPr>
              <p:cNvSpPr/>
              <p:nvPr userDrawn="1"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8" name="Прямоугольник: скругленные углы 22">
                <a:extLst>
                  <a:ext uri="{FF2B5EF4-FFF2-40B4-BE49-F238E27FC236}">
                    <a16:creationId xmlns:a16="http://schemas.microsoft.com/office/drawing/2014/main" id="{8D06C0A0-C7B4-4E44-9701-3059DD5A9390}"/>
                  </a:ext>
                </a:extLst>
              </p:cNvPr>
              <p:cNvSpPr/>
              <p:nvPr userDrawn="1"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9" name="Прямоугольник: скругленные углы 79">
                <a:extLst>
                  <a:ext uri="{FF2B5EF4-FFF2-40B4-BE49-F238E27FC236}">
                    <a16:creationId xmlns:a16="http://schemas.microsoft.com/office/drawing/2014/main" id="{4B5F9A9D-D4AA-8843-9907-1BAB5265C0CC}"/>
                  </a:ext>
                </a:extLst>
              </p:cNvPr>
              <p:cNvSpPr/>
              <p:nvPr userDrawn="1"/>
            </p:nvSpPr>
            <p:spPr>
              <a:xfrm>
                <a:off x="-1735356" y="4136975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0" name="Прямоугольник: скругленные углы 63">
                <a:extLst>
                  <a:ext uri="{FF2B5EF4-FFF2-40B4-BE49-F238E27FC236}">
                    <a16:creationId xmlns:a16="http://schemas.microsoft.com/office/drawing/2014/main" id="{B12830A1-64DC-B348-AE85-D752F85E407F}"/>
                  </a:ext>
                </a:extLst>
              </p:cNvPr>
              <p:cNvSpPr/>
              <p:nvPr userDrawn="1"/>
            </p:nvSpPr>
            <p:spPr>
              <a:xfrm>
                <a:off x="-1476289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9B4D8696-D92B-FA0E-3B11-461E3143BA3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tx1"/>
          </a:solidFill>
        </p:grpSpPr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A401FE13-B13D-29B2-D2A8-7EC8A52BE3B0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261EA78A-07D8-1B0A-D52F-2000FAB5FCB6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180857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_title_ligh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DDB7B6FF-BCB4-0D7F-43C7-738D0A9ACD9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41985" y="6415289"/>
            <a:ext cx="1044575" cy="231716"/>
            <a:chOff x="8489504" y="910877"/>
            <a:chExt cx="2734509" cy="606592"/>
          </a:xfrm>
          <a:solidFill>
            <a:schemeClr val="tx1"/>
          </a:solidFill>
        </p:grpSpPr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60AE0B07-6FE3-17A5-A55E-AE65600F26E5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B898C728-5E02-E127-800E-915A6CED6D5D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C6A208F-2A8F-8640-1889-7EF3989875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606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C6A208F-2A8F-8640-1889-7EF398987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91C59567-F70E-CC32-748F-63A920CFA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3" y="1520824"/>
            <a:ext cx="10910887" cy="4741864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2400"/>
            </a:lvl1pPr>
            <a:lvl2pPr>
              <a:lnSpc>
                <a:spcPct val="100000"/>
              </a:lnSpc>
              <a:spcAft>
                <a:spcPts val="1200"/>
              </a:spcAft>
              <a:defRPr sz="2400"/>
            </a:lvl2pPr>
            <a:lvl3pPr>
              <a:lnSpc>
                <a:spcPct val="100000"/>
              </a:lnSpc>
              <a:spcAft>
                <a:spcPts val="1200"/>
              </a:spcAft>
              <a:defRPr sz="2400"/>
            </a:lvl3pPr>
            <a:lvl4pPr>
              <a:lnSpc>
                <a:spcPct val="100000"/>
              </a:lnSpc>
              <a:spcAft>
                <a:spcPts val="1200"/>
              </a:spcAft>
              <a:defRPr sz="2400"/>
            </a:lvl4pPr>
            <a:lvl5pPr>
              <a:lnSpc>
                <a:spcPct val="100000"/>
              </a:lnSpc>
              <a:spcAft>
                <a:spcPts val="1200"/>
              </a:spcAft>
              <a:defRPr sz="24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CD188B5-4A1B-CBD8-E7B6-3AA0E6DAFA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99" y="420493"/>
            <a:ext cx="10910888" cy="783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2000"/>
              </a:lnSpc>
              <a:defRPr sz="4400" spc="-30" baseline="0"/>
            </a:lvl1pPr>
          </a:lstStyle>
          <a:p>
            <a:r>
              <a:rPr lang="ru-RU" dirty="0"/>
              <a:t>Заголовок слайда в 1 строку</a:t>
            </a:r>
          </a:p>
        </p:txBody>
      </p:sp>
      <p:sp>
        <p:nvSpPr>
          <p:cNvPr id="38" name="Прямоугольник: скругленные углы 37">
            <a:extLst>
              <a:ext uri="{FF2B5EF4-FFF2-40B4-BE49-F238E27FC236}">
                <a16:creationId xmlns:a16="http://schemas.microsoft.com/office/drawing/2014/main" id="{7B5F198A-2559-F2F6-5327-6954972E8252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: скругленные верхние углы 38">
            <a:extLst>
              <a:ext uri="{FF2B5EF4-FFF2-40B4-BE49-F238E27FC236}">
                <a16:creationId xmlns:a16="http://schemas.microsoft.com/office/drawing/2014/main" id="{7F566F0E-F78F-3D2D-3421-869755AFA559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40" name="Таблица 46">
            <a:extLst>
              <a:ext uri="{FF2B5EF4-FFF2-40B4-BE49-F238E27FC236}">
                <a16:creationId xmlns:a16="http://schemas.microsoft.com/office/drawing/2014/main" id="{90C90852-1187-6692-C182-38F701835E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2695781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5</a:t>
                      </a:r>
                      <a:r>
                        <a:rPr lang="ru-RU" sz="1200" b="1"/>
                        <a:t>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44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32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en-US" sz="1200" b="1"/>
                        <a:t>24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</a:t>
                      </a:r>
                      <a:r>
                        <a:rPr lang="en-US" sz="1200" b="1"/>
                        <a:t>8</a:t>
                      </a:r>
                      <a:endParaRPr lang="ru-RU" sz="1200" b="1"/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8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4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2</a:t>
                      </a:r>
                      <a:endParaRPr lang="ru-RU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41" name="Полилиния: фигура 40">
            <a:extLst>
              <a:ext uri="{FF2B5EF4-FFF2-40B4-BE49-F238E27FC236}">
                <a16:creationId xmlns:a16="http://schemas.microsoft.com/office/drawing/2014/main" id="{16881EB9-3774-1E79-046E-FF7CB7E5BD88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575B971-17FB-73BD-BC0C-C9F8A9DB1D14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37F91FFE-0848-C32B-3DE7-253AE66324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8050" cy="216000"/>
          </a:xfrm>
        </p:spPr>
        <p:txBody>
          <a:bodyPr/>
          <a:lstStyle>
            <a:lvl1pPr>
              <a:defRPr>
                <a:solidFill>
                  <a:srgbClr val="5A6C7D"/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7" name="Нижний колонтитул 4">
            <a:extLst>
              <a:ext uri="{FF2B5EF4-FFF2-40B4-BE49-F238E27FC236}">
                <a16:creationId xmlns:a16="http://schemas.microsoft.com/office/drawing/2014/main" id="{3533BB9A-69F9-284C-B8F9-524632360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anchor="b"/>
          <a:lstStyle>
            <a:lvl1pPr>
              <a:defRPr sz="1000">
                <a:solidFill>
                  <a:srgbClr val="5A6C7D"/>
                </a:solidFill>
              </a:defRPr>
            </a:lvl1pPr>
          </a:lstStyle>
          <a:p>
            <a:endParaRPr lang="ru-RU" dirty="0"/>
          </a:p>
        </p:txBody>
      </p:sp>
      <p:grpSp>
        <p:nvGrpSpPr>
          <p:cNvPr id="108" name="Группа 107">
            <a:extLst>
              <a:ext uri="{FF2B5EF4-FFF2-40B4-BE49-F238E27FC236}">
                <a16:creationId xmlns:a16="http://schemas.microsoft.com/office/drawing/2014/main" id="{BD89BFE4-C341-1B47-9B71-F50873234CE8}"/>
              </a:ext>
            </a:extLst>
          </p:cNvPr>
          <p:cNvGrpSpPr/>
          <p:nvPr userDrawn="1"/>
        </p:nvGrpSpPr>
        <p:grpSpPr>
          <a:xfrm>
            <a:off x="-2138458" y="3080607"/>
            <a:ext cx="1935384" cy="3777393"/>
            <a:chOff x="-2138458" y="3080607"/>
            <a:chExt cx="1935384" cy="3777393"/>
          </a:xfrm>
        </p:grpSpPr>
        <p:grpSp>
          <p:nvGrpSpPr>
            <p:cNvPr id="109" name="Группа 108">
              <a:extLst>
                <a:ext uri="{FF2B5EF4-FFF2-40B4-BE49-F238E27FC236}">
                  <a16:creationId xmlns:a16="http://schemas.microsoft.com/office/drawing/2014/main" id="{834BC7B3-5C70-524F-ADD8-52F3C5F107E0}"/>
                </a:ext>
              </a:extLst>
            </p:cNvPr>
            <p:cNvGrpSpPr/>
            <p:nvPr userDrawn="1"/>
          </p:nvGrpSpPr>
          <p:grpSpPr>
            <a:xfrm>
              <a:off x="-2131314" y="5782119"/>
              <a:ext cx="1928240" cy="1075881"/>
              <a:chOff x="-2131314" y="5782119"/>
              <a:chExt cx="1928240" cy="1075881"/>
            </a:xfrm>
          </p:grpSpPr>
          <p:sp>
            <p:nvSpPr>
              <p:cNvPr id="135" name="Прямоугольник: скругленные углы 89">
                <a:extLst>
                  <a:ext uri="{FF2B5EF4-FFF2-40B4-BE49-F238E27FC236}">
                    <a16:creationId xmlns:a16="http://schemas.microsoft.com/office/drawing/2014/main" id="{5217C7F2-4697-C849-9729-B97317BDCD65}"/>
                  </a:ext>
                </a:extLst>
              </p:cNvPr>
              <p:cNvSpPr/>
              <p:nvPr/>
            </p:nvSpPr>
            <p:spPr>
              <a:xfrm>
                <a:off x="-2131314" y="5782119"/>
                <a:ext cx="1928240" cy="1075881"/>
              </a:xfrm>
              <a:prstGeom prst="roundRect">
                <a:avLst>
                  <a:gd name="adj" fmla="val 12985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FC583186-DDFC-904C-BE35-F43E5AEB75EF}"/>
                  </a:ext>
                </a:extLst>
              </p:cNvPr>
              <p:cNvSpPr txBox="1"/>
              <p:nvPr/>
            </p:nvSpPr>
            <p:spPr>
              <a:xfrm>
                <a:off x="-1788338" y="5868204"/>
                <a:ext cx="1155882" cy="15109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lnSpc>
                    <a:spcPct val="90000"/>
                  </a:lnSpc>
                </a:pPr>
                <a:r>
                  <a:rPr lang="ru-RU" sz="1000" b="1">
                    <a:solidFill>
                      <a:schemeClr val="accent1"/>
                    </a:solidFill>
                  </a:rPr>
                  <a:t>Шаблон </a:t>
                </a:r>
                <a:r>
                  <a:rPr lang="en-US" sz="1000" b="1">
                    <a:solidFill>
                      <a:schemeClr val="accent1"/>
                    </a:solidFill>
                  </a:rPr>
                  <a:t>Ozon</a:t>
                </a:r>
                <a:endParaRPr lang="ru-RU" sz="10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37" name="Рисунок 93">
                <a:extLst>
                  <a:ext uri="{FF2B5EF4-FFF2-40B4-BE49-F238E27FC236}">
                    <a16:creationId xmlns:a16="http://schemas.microsoft.com/office/drawing/2014/main" id="{39A53F60-DC92-BC4D-9DBA-E0749A80126E}"/>
                  </a:ext>
                </a:extLst>
              </p:cNvPr>
              <p:cNvSpPr/>
              <p:nvPr/>
            </p:nvSpPr>
            <p:spPr>
              <a:xfrm>
                <a:off x="-2004963" y="5853908"/>
                <a:ext cx="161099" cy="161099"/>
              </a:xfrm>
              <a:custGeom>
                <a:avLst/>
                <a:gdLst>
                  <a:gd name="connsiteX0" fmla="*/ 85725 w 171450"/>
                  <a:gd name="connsiteY0" fmla="*/ 171450 h 171450"/>
                  <a:gd name="connsiteX1" fmla="*/ 171450 w 171450"/>
                  <a:gd name="connsiteY1" fmla="*/ 85725 h 171450"/>
                  <a:gd name="connsiteX2" fmla="*/ 85725 w 171450"/>
                  <a:gd name="connsiteY2" fmla="*/ 0 h 171450"/>
                  <a:gd name="connsiteX3" fmla="*/ 0 w 171450"/>
                  <a:gd name="connsiteY3" fmla="*/ 85725 h 171450"/>
                  <a:gd name="connsiteX4" fmla="*/ 85725 w 171450"/>
                  <a:gd name="connsiteY4" fmla="*/ 171450 h 171450"/>
                  <a:gd name="connsiteX5" fmla="*/ 130560 w 171450"/>
                  <a:gd name="connsiteY5" fmla="*/ 73410 h 171450"/>
                  <a:gd name="connsiteX6" fmla="*/ 82935 w 171450"/>
                  <a:gd name="connsiteY6" fmla="*/ 121035 h 171450"/>
                  <a:gd name="connsiteX7" fmla="*/ 69465 w 171450"/>
                  <a:gd name="connsiteY7" fmla="*/ 121035 h 171450"/>
                  <a:gd name="connsiteX8" fmla="*/ 40890 w 171450"/>
                  <a:gd name="connsiteY8" fmla="*/ 92460 h 171450"/>
                  <a:gd name="connsiteX9" fmla="*/ 40890 w 171450"/>
                  <a:gd name="connsiteY9" fmla="*/ 78990 h 171450"/>
                  <a:gd name="connsiteX10" fmla="*/ 54360 w 171450"/>
                  <a:gd name="connsiteY10" fmla="*/ 78990 h 171450"/>
                  <a:gd name="connsiteX11" fmla="*/ 76200 w 171450"/>
                  <a:gd name="connsiteY11" fmla="*/ 100830 h 171450"/>
                  <a:gd name="connsiteX12" fmla="*/ 117090 w 171450"/>
                  <a:gd name="connsiteY12" fmla="*/ 59940 h 171450"/>
                  <a:gd name="connsiteX13" fmla="*/ 130560 w 171450"/>
                  <a:gd name="connsiteY13" fmla="*/ 59940 h 171450"/>
                  <a:gd name="connsiteX14" fmla="*/ 130560 w 171450"/>
                  <a:gd name="connsiteY14" fmla="*/ 7341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1450" h="171450">
                    <a:moveTo>
                      <a:pt x="85725" y="171450"/>
                    </a:moveTo>
                    <a:cubicBezTo>
                      <a:pt x="138915" y="171450"/>
                      <a:pt x="171450" y="138915"/>
                      <a:pt x="171450" y="85725"/>
                    </a:cubicBezTo>
                    <a:cubicBezTo>
                      <a:pt x="171450" y="32535"/>
                      <a:pt x="138915" y="0"/>
                      <a:pt x="85725" y="0"/>
                    </a:cubicBezTo>
                    <a:cubicBezTo>
                      <a:pt x="32535" y="0"/>
                      <a:pt x="0" y="32535"/>
                      <a:pt x="0" y="85725"/>
                    </a:cubicBezTo>
                    <a:cubicBezTo>
                      <a:pt x="0" y="138915"/>
                      <a:pt x="32535" y="171450"/>
                      <a:pt x="85725" y="171450"/>
                    </a:cubicBezTo>
                    <a:close/>
                    <a:moveTo>
                      <a:pt x="130560" y="73410"/>
                    </a:moveTo>
                    <a:lnTo>
                      <a:pt x="82935" y="121035"/>
                    </a:lnTo>
                    <a:cubicBezTo>
                      <a:pt x="79216" y="124755"/>
                      <a:pt x="73184" y="124755"/>
                      <a:pt x="69465" y="121035"/>
                    </a:cubicBezTo>
                    <a:lnTo>
                      <a:pt x="40890" y="92460"/>
                    </a:lnTo>
                    <a:cubicBezTo>
                      <a:pt x="37170" y="88741"/>
                      <a:pt x="37170" y="82709"/>
                      <a:pt x="40890" y="78990"/>
                    </a:cubicBezTo>
                    <a:cubicBezTo>
                      <a:pt x="44610" y="75270"/>
                      <a:pt x="50640" y="75270"/>
                      <a:pt x="54360" y="78990"/>
                    </a:cubicBezTo>
                    <a:lnTo>
                      <a:pt x="76200" y="100830"/>
                    </a:lnTo>
                    <a:lnTo>
                      <a:pt x="117090" y="59940"/>
                    </a:lnTo>
                    <a:cubicBezTo>
                      <a:pt x="120809" y="56220"/>
                      <a:pt x="126841" y="56220"/>
                      <a:pt x="130560" y="59940"/>
                    </a:cubicBezTo>
                    <a:cubicBezTo>
                      <a:pt x="134280" y="63660"/>
                      <a:pt x="134280" y="69691"/>
                      <a:pt x="130560" y="734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6B979AC4-0565-544F-BD17-2769D5F3B3F7}"/>
                  </a:ext>
                </a:extLst>
              </p:cNvPr>
              <p:cNvSpPr txBox="1"/>
              <p:nvPr/>
            </p:nvSpPr>
            <p:spPr>
              <a:xfrm>
                <a:off x="-2004962" y="6072106"/>
                <a:ext cx="1687587" cy="60024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>
                  <a:lnSpc>
                    <a:spcPct val="110000"/>
                  </a:lnSpc>
                </a:pPr>
                <a:r>
                  <a:rPr lang="ru-RU" sz="900" spc="-30" baseline="0">
                    <a:solidFill>
                      <a:schemeClr val="tx2"/>
                    </a:solidFill>
                  </a:rPr>
                  <a:t>Если нужно больше материалов: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правое меню </a:t>
                </a:r>
                <a:r>
                  <a:rPr lang="en-US" sz="900" b="1" spc="-30" baseline="0">
                    <a:solidFill>
                      <a:schemeClr val="tx2"/>
                    </a:solidFill>
                  </a:rPr>
                  <a:t>Staff — Brand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— Всё для презентаций. 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Или пиши нам на </a:t>
                </a:r>
                <a:r>
                  <a:rPr lang="en-US" sz="900" b="0" spc="-30" baseline="0">
                    <a:solidFill>
                      <a:schemeClr val="tx2"/>
                    </a:solidFill>
                  </a:rPr>
                  <a:t>presentations@ozon.ru.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 </a:t>
                </a:r>
              </a:p>
            </p:txBody>
          </p:sp>
        </p:grpSp>
        <p:grpSp>
          <p:nvGrpSpPr>
            <p:cNvPr id="110" name="Группа 109">
              <a:extLst>
                <a:ext uri="{FF2B5EF4-FFF2-40B4-BE49-F238E27FC236}">
                  <a16:creationId xmlns:a16="http://schemas.microsoft.com/office/drawing/2014/main" id="{2969F078-F215-5C48-8DA5-5E62D47FE51E}"/>
                </a:ext>
              </a:extLst>
            </p:cNvPr>
            <p:cNvGrpSpPr/>
            <p:nvPr userDrawn="1"/>
          </p:nvGrpSpPr>
          <p:grpSpPr>
            <a:xfrm>
              <a:off x="-2138458" y="3080607"/>
              <a:ext cx="1928241" cy="2523683"/>
              <a:chOff x="-2138458" y="3070447"/>
              <a:chExt cx="1928241" cy="2523683"/>
            </a:xfrm>
          </p:grpSpPr>
          <p:sp>
            <p:nvSpPr>
              <p:cNvPr id="111" name="Прямоугольник: скругленные углы 57">
                <a:extLst>
                  <a:ext uri="{FF2B5EF4-FFF2-40B4-BE49-F238E27FC236}">
                    <a16:creationId xmlns:a16="http://schemas.microsoft.com/office/drawing/2014/main" id="{BA8E07D1-5D78-8A41-AF3B-B182ED2754F4}"/>
                  </a:ext>
                </a:extLst>
              </p:cNvPr>
              <p:cNvSpPr/>
              <p:nvPr/>
            </p:nvSpPr>
            <p:spPr>
              <a:xfrm>
                <a:off x="-2138458" y="3125312"/>
                <a:ext cx="1928241" cy="2468818"/>
              </a:xfrm>
              <a:prstGeom prst="roundRect">
                <a:avLst>
                  <a:gd name="adj" fmla="val 5926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Прямоугольник: скругленные верхние углы 58">
                <a:extLst>
                  <a:ext uri="{FF2B5EF4-FFF2-40B4-BE49-F238E27FC236}">
                    <a16:creationId xmlns:a16="http://schemas.microsoft.com/office/drawing/2014/main" id="{60938D9F-E19D-FF4B-A2C5-144BA9918D0D}"/>
                  </a:ext>
                </a:extLst>
              </p:cNvPr>
              <p:cNvSpPr/>
              <p:nvPr/>
            </p:nvSpPr>
            <p:spPr>
              <a:xfrm>
                <a:off x="-2136930" y="3070447"/>
                <a:ext cx="1926713" cy="28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36000" rtlCol="0" anchor="ctr"/>
              <a:lstStyle/>
              <a:p>
                <a:pPr algn="ctr"/>
                <a:r>
                  <a:rPr lang="ru-RU" sz="1100" b="1">
                    <a:solidFill>
                      <a:schemeClr val="tx1"/>
                    </a:solidFill>
                  </a:rPr>
                  <a:t>Цвета </a:t>
                </a:r>
                <a:r>
                  <a:rPr lang="en-US" sz="1100" b="1">
                    <a:solidFill>
                      <a:schemeClr val="tx1"/>
                    </a:solidFill>
                  </a:rPr>
                  <a:t>Ozon</a:t>
                </a:r>
                <a:endParaRPr lang="ru-RU" sz="11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D2C25D91-90BB-E64E-80BC-FF2F371E3358}"/>
                  </a:ext>
                </a:extLst>
              </p:cNvPr>
              <p:cNvSpPr txBox="1"/>
              <p:nvPr/>
            </p:nvSpPr>
            <p:spPr>
              <a:xfrm>
                <a:off x="-2003446" y="3412239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 dirty="0"/>
                  <a:t>Цвет текста </a:t>
                </a:r>
              </a:p>
            </p:txBody>
          </p:sp>
          <p:sp>
            <p:nvSpPr>
              <p:cNvPr id="114" name="Прямоугольник: скругленные углы 61">
                <a:extLst>
                  <a:ext uri="{FF2B5EF4-FFF2-40B4-BE49-F238E27FC236}">
                    <a16:creationId xmlns:a16="http://schemas.microsoft.com/office/drawing/2014/main" id="{3A77C429-0EDB-0340-A4D2-EA9F85F17989}"/>
                  </a:ext>
                </a:extLst>
              </p:cNvPr>
              <p:cNvSpPr/>
              <p:nvPr userDrawn="1"/>
            </p:nvSpPr>
            <p:spPr>
              <a:xfrm>
                <a:off x="-2004344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tx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5" name="Прямоугольник: скругленные углы 62">
                <a:extLst>
                  <a:ext uri="{FF2B5EF4-FFF2-40B4-BE49-F238E27FC236}">
                    <a16:creationId xmlns:a16="http://schemas.microsoft.com/office/drawing/2014/main" id="{740F1B91-58A6-7C49-BA12-5E631058543D}"/>
                  </a:ext>
                </a:extLst>
              </p:cNvPr>
              <p:cNvSpPr/>
              <p:nvPr/>
            </p:nvSpPr>
            <p:spPr>
              <a:xfrm>
                <a:off x="-1738339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6" name="Прямоугольник: скругленные углы 63">
                <a:extLst>
                  <a:ext uri="{FF2B5EF4-FFF2-40B4-BE49-F238E27FC236}">
                    <a16:creationId xmlns:a16="http://schemas.microsoft.com/office/drawing/2014/main" id="{DCF0F58B-DBBB-A548-8606-CFB0E9CFC841}"/>
                  </a:ext>
                </a:extLst>
              </p:cNvPr>
              <p:cNvSpPr/>
              <p:nvPr/>
            </p:nvSpPr>
            <p:spPr>
              <a:xfrm>
                <a:off x="-1739900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3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7" name="Прямоугольник: скругленные углы 68">
                <a:extLst>
                  <a:ext uri="{FF2B5EF4-FFF2-40B4-BE49-F238E27FC236}">
                    <a16:creationId xmlns:a16="http://schemas.microsoft.com/office/drawing/2014/main" id="{BBB5C707-1A45-6B41-AE89-AE36E0EEDF3F}"/>
                  </a:ext>
                </a:extLst>
              </p:cNvPr>
              <p:cNvSpPr/>
              <p:nvPr/>
            </p:nvSpPr>
            <p:spPr>
              <a:xfrm>
                <a:off x="-2004963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10AF350A-F228-9D46-8228-C2006B46C831}"/>
                  </a:ext>
                </a:extLst>
              </p:cNvPr>
              <p:cNvSpPr txBox="1"/>
              <p:nvPr/>
            </p:nvSpPr>
            <p:spPr>
              <a:xfrm>
                <a:off x="-2003446" y="3935644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 больших плашек</a:t>
                </a:r>
              </a:p>
            </p:txBody>
          </p:sp>
          <p:sp>
            <p:nvSpPr>
              <p:cNvPr id="119" name="Прямоугольник: скругленные углы 70">
                <a:extLst>
                  <a:ext uri="{FF2B5EF4-FFF2-40B4-BE49-F238E27FC236}">
                    <a16:creationId xmlns:a16="http://schemas.microsoft.com/office/drawing/2014/main" id="{0B82D208-C021-4A43-BA7B-1A1BBCBD27B0}"/>
                  </a:ext>
                </a:extLst>
              </p:cNvPr>
              <p:cNvSpPr/>
              <p:nvPr/>
            </p:nvSpPr>
            <p:spPr>
              <a:xfrm>
                <a:off x="-1209774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0" name="Прямоугольник: скругленные углы 71">
                <a:extLst>
                  <a:ext uri="{FF2B5EF4-FFF2-40B4-BE49-F238E27FC236}">
                    <a16:creationId xmlns:a16="http://schemas.microsoft.com/office/drawing/2014/main" id="{EB6C1208-56F6-CC4A-8274-94EA92BF9714}"/>
                  </a:ext>
                </a:extLst>
              </p:cNvPr>
              <p:cNvSpPr/>
              <p:nvPr/>
            </p:nvSpPr>
            <p:spPr>
              <a:xfrm>
                <a:off x="-2004963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1" name="Прямоугольник: скругленные углы 74">
                <a:extLst>
                  <a:ext uri="{FF2B5EF4-FFF2-40B4-BE49-F238E27FC236}">
                    <a16:creationId xmlns:a16="http://schemas.microsoft.com/office/drawing/2014/main" id="{4A968071-A79E-B84E-9BC5-BB5AE9B37327}"/>
                  </a:ext>
                </a:extLst>
              </p:cNvPr>
              <p:cNvSpPr/>
              <p:nvPr/>
            </p:nvSpPr>
            <p:spPr>
              <a:xfrm>
                <a:off x="-1475201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5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89754C95-231D-B242-8E40-42E570622A38}"/>
                  </a:ext>
                </a:extLst>
              </p:cNvPr>
              <p:cNvSpPr txBox="1"/>
              <p:nvPr/>
            </p:nvSpPr>
            <p:spPr>
              <a:xfrm>
                <a:off x="-2003446" y="4451492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а маленьких плашек</a:t>
                </a:r>
              </a:p>
            </p:txBody>
          </p:sp>
          <p:sp>
            <p:nvSpPr>
              <p:cNvPr id="123" name="Прямоугольник: скругленные углы 82">
                <a:extLst>
                  <a:ext uri="{FF2B5EF4-FFF2-40B4-BE49-F238E27FC236}">
                    <a16:creationId xmlns:a16="http://schemas.microsoft.com/office/drawing/2014/main" id="{48244B61-4FE3-494E-A759-779D4173ED2C}"/>
                  </a:ext>
                </a:extLst>
              </p:cNvPr>
              <p:cNvSpPr/>
              <p:nvPr userDrawn="1"/>
            </p:nvSpPr>
            <p:spPr>
              <a:xfrm>
                <a:off x="-1739900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B7EDC9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4" name="Прямоугольник: скругленные углы 83">
                <a:extLst>
                  <a:ext uri="{FF2B5EF4-FFF2-40B4-BE49-F238E27FC236}">
                    <a16:creationId xmlns:a16="http://schemas.microsoft.com/office/drawing/2014/main" id="{A28D6D7E-757B-0548-B01F-811EE63AF0D7}"/>
                  </a:ext>
                </a:extLst>
              </p:cNvPr>
              <p:cNvSpPr/>
              <p:nvPr/>
            </p:nvSpPr>
            <p:spPr>
              <a:xfrm>
                <a:off x="-1474837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A800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5" name="Прямоугольник: скругленные углы 84">
                <a:extLst>
                  <a:ext uri="{FF2B5EF4-FFF2-40B4-BE49-F238E27FC236}">
                    <a16:creationId xmlns:a16="http://schemas.microsoft.com/office/drawing/2014/main" id="{EC12264D-60CC-2941-A2D5-986F8230811D}"/>
                  </a:ext>
                </a:extLst>
              </p:cNvPr>
              <p:cNvSpPr/>
              <p:nvPr/>
            </p:nvSpPr>
            <p:spPr>
              <a:xfrm>
                <a:off x="-2004963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10C44C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F0FDEB6-74FB-7D48-84BD-929415B84CD6}"/>
                  </a:ext>
                </a:extLst>
              </p:cNvPr>
              <p:cNvSpPr txBox="1"/>
              <p:nvPr/>
            </p:nvSpPr>
            <p:spPr>
              <a:xfrm>
                <a:off x="-2003446" y="4973480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900"/>
                  <a:t>Рост / падение показателей</a:t>
                </a:r>
              </a:p>
            </p:txBody>
          </p:sp>
          <p:sp>
            <p:nvSpPr>
              <p:cNvPr id="127" name="Прямоугольник: скругленные углы 13">
                <a:extLst>
                  <a:ext uri="{FF2B5EF4-FFF2-40B4-BE49-F238E27FC236}">
                    <a16:creationId xmlns:a16="http://schemas.microsoft.com/office/drawing/2014/main" id="{DBB56AF9-4B8A-D948-92F8-5C656226D42A}"/>
                  </a:ext>
                </a:extLst>
              </p:cNvPr>
              <p:cNvSpPr/>
              <p:nvPr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8" name="Прямоугольник: скругленные углы 14">
                <a:extLst>
                  <a:ext uri="{FF2B5EF4-FFF2-40B4-BE49-F238E27FC236}">
                    <a16:creationId xmlns:a16="http://schemas.microsoft.com/office/drawing/2014/main" id="{E5865762-5817-3948-90BF-C383B0E13803}"/>
                  </a:ext>
                </a:extLst>
              </p:cNvPr>
              <p:cNvSpPr/>
              <p:nvPr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9" name="Прямоугольник: скругленные углы 15">
                <a:extLst>
                  <a:ext uri="{FF2B5EF4-FFF2-40B4-BE49-F238E27FC236}">
                    <a16:creationId xmlns:a16="http://schemas.microsoft.com/office/drawing/2014/main" id="{B6F0FF74-E048-D44F-81D4-8EAF2714191B}"/>
                  </a:ext>
                </a:extLst>
              </p:cNvPr>
              <p:cNvSpPr/>
              <p:nvPr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0" name="Прямоугольник: скругленные углы 20">
                <a:extLst>
                  <a:ext uri="{FF2B5EF4-FFF2-40B4-BE49-F238E27FC236}">
                    <a16:creationId xmlns:a16="http://schemas.microsoft.com/office/drawing/2014/main" id="{FCE31E5B-D877-844B-AD8D-6C96B45AA384}"/>
                  </a:ext>
                </a:extLst>
              </p:cNvPr>
              <p:cNvSpPr/>
              <p:nvPr userDrawn="1"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1" name="Прямоугольник: скругленные углы 21">
                <a:extLst>
                  <a:ext uri="{FF2B5EF4-FFF2-40B4-BE49-F238E27FC236}">
                    <a16:creationId xmlns:a16="http://schemas.microsoft.com/office/drawing/2014/main" id="{579A5768-EB25-2147-837F-96AA6EBFDCF8}"/>
                  </a:ext>
                </a:extLst>
              </p:cNvPr>
              <p:cNvSpPr/>
              <p:nvPr userDrawn="1"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2" name="Прямоугольник: скругленные углы 22">
                <a:extLst>
                  <a:ext uri="{FF2B5EF4-FFF2-40B4-BE49-F238E27FC236}">
                    <a16:creationId xmlns:a16="http://schemas.microsoft.com/office/drawing/2014/main" id="{F851E1D3-D231-D141-9846-508981BCF64C}"/>
                  </a:ext>
                </a:extLst>
              </p:cNvPr>
              <p:cNvSpPr/>
              <p:nvPr userDrawn="1"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3" name="Прямоугольник: скругленные углы 79">
                <a:extLst>
                  <a:ext uri="{FF2B5EF4-FFF2-40B4-BE49-F238E27FC236}">
                    <a16:creationId xmlns:a16="http://schemas.microsoft.com/office/drawing/2014/main" id="{45406E7B-B207-844F-81FD-6B1178F1B353}"/>
                  </a:ext>
                </a:extLst>
              </p:cNvPr>
              <p:cNvSpPr/>
              <p:nvPr userDrawn="1"/>
            </p:nvSpPr>
            <p:spPr>
              <a:xfrm>
                <a:off x="-1735356" y="4136975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4" name="Прямоугольник: скругленные углы 63">
                <a:extLst>
                  <a:ext uri="{FF2B5EF4-FFF2-40B4-BE49-F238E27FC236}">
                    <a16:creationId xmlns:a16="http://schemas.microsoft.com/office/drawing/2014/main" id="{A658E357-7580-F642-8B18-619020470BBB}"/>
                  </a:ext>
                </a:extLst>
              </p:cNvPr>
              <p:cNvSpPr/>
              <p:nvPr userDrawn="1"/>
            </p:nvSpPr>
            <p:spPr>
              <a:xfrm>
                <a:off x="-1476289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31341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: скругленные углы 30">
            <a:extLst>
              <a:ext uri="{FF2B5EF4-FFF2-40B4-BE49-F238E27FC236}">
                <a16:creationId xmlns:a16="http://schemas.microsoft.com/office/drawing/2014/main" id="{B5CEA510-779D-B186-51D9-A7BE6A4D8CBF}"/>
              </a:ext>
            </a:extLst>
          </p:cNvPr>
          <p:cNvSpPr/>
          <p:nvPr/>
        </p:nvSpPr>
        <p:spPr>
          <a:xfrm>
            <a:off x="-2138458" y="54865"/>
            <a:ext cx="1928241" cy="2826069"/>
          </a:xfrm>
          <a:prstGeom prst="roundRect">
            <a:avLst>
              <a:gd name="adj" fmla="val 5926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: скругленные верхние углы 31">
            <a:extLst>
              <a:ext uri="{FF2B5EF4-FFF2-40B4-BE49-F238E27FC236}">
                <a16:creationId xmlns:a16="http://schemas.microsoft.com/office/drawing/2014/main" id="{A1C959ED-4845-914A-5E46-E2BC8420265D}"/>
              </a:ext>
            </a:extLst>
          </p:cNvPr>
          <p:cNvSpPr/>
          <p:nvPr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graphicFrame>
        <p:nvGraphicFramePr>
          <p:cNvPr id="33" name="Таблица 46">
            <a:extLst>
              <a:ext uri="{FF2B5EF4-FFF2-40B4-BE49-F238E27FC236}">
                <a16:creationId xmlns:a16="http://schemas.microsoft.com/office/drawing/2014/main" id="{E10B7DDB-30E3-5914-1530-1B343B89EC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4283051"/>
              </p:ext>
            </p:extLst>
          </p:nvPr>
        </p:nvGraphicFramePr>
        <p:xfrm>
          <a:off x="-2046114" y="312643"/>
          <a:ext cx="1958731" cy="2142000"/>
        </p:xfrm>
        <a:graphic>
          <a:graphicData uri="http://schemas.openxmlformats.org/drawingml/2006/table">
            <a:tbl>
              <a:tblPr>
                <a:tableStyleId>{914A2982-056F-4F8E-A7C0-7B2B0B0CB698}</a:tableStyleId>
              </a:tblPr>
              <a:tblGrid>
                <a:gridCol w="532517">
                  <a:extLst>
                    <a:ext uri="{9D8B030D-6E8A-4147-A177-3AD203B41FA5}">
                      <a16:colId xmlns:a16="http://schemas.microsoft.com/office/drawing/2014/main" val="2594385797"/>
                    </a:ext>
                  </a:extLst>
                </a:gridCol>
                <a:gridCol w="1426214">
                  <a:extLst>
                    <a:ext uri="{9D8B030D-6E8A-4147-A177-3AD203B41FA5}">
                      <a16:colId xmlns:a16="http://schemas.microsoft.com/office/drawing/2014/main" val="1017723076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44+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spc="-40" baseline="0"/>
                        <a:t>акцентные цифр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329665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3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заголовки и самые </a:t>
                      </a:r>
                      <a:br>
                        <a:rPr lang="ru-RU" sz="1000" spc="-40" baseline="0"/>
                      </a:br>
                      <a:r>
                        <a:rPr lang="ru-RU" sz="1000" spc="-40" baseline="0"/>
                        <a:t>важные данные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97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24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8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подзаголовки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278000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algn="r"/>
                      <a:r>
                        <a:rPr lang="ru-RU" sz="1200" b="1"/>
                        <a:t>18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/</a:t>
                      </a:r>
                      <a:r>
                        <a:rPr lang="ru-RU" sz="900" b="1"/>
                        <a:t> </a:t>
                      </a:r>
                      <a:r>
                        <a:rPr lang="ru-RU" sz="1200" b="1"/>
                        <a:t>14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/>
                        <a:t>основной текст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06857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sz="900" b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торой уровень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текста (менее </a:t>
                      </a:r>
                      <a:br>
                        <a:rPr lang="ru-RU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важная информация)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997433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r>
                        <a:rPr lang="ru-RU" sz="1200" b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сноски, пояснения, </a:t>
                      </a:r>
                      <a:br>
                        <a:rPr lang="en-US" sz="1000" spc="-40" baseline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spc="-40" baseline="0">
                          <a:solidFill>
                            <a:schemeClr val="tx1"/>
                          </a:solidFill>
                        </a:rPr>
                        <a:t>большие таблицы</a:t>
                      </a:r>
                    </a:p>
                  </a:txBody>
                  <a:tcPr marL="0" marR="72000" marT="36000" marB="36000">
                    <a:lnL w="0" cmpd="sng">
                      <a:noFill/>
                    </a:lnL>
                    <a:lnR w="0" cmpd="sng">
                      <a:noFill/>
                    </a:lnR>
                    <a:lnT w="6350" cmpd="sng"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6660845"/>
                  </a:ext>
                </a:extLst>
              </a:tr>
            </a:tbl>
          </a:graphicData>
        </a:graphic>
      </p:graphicFrame>
      <p:sp>
        <p:nvSpPr>
          <p:cNvPr id="34" name="Полилиния: фигура 33">
            <a:extLst>
              <a:ext uri="{FF2B5EF4-FFF2-40B4-BE49-F238E27FC236}">
                <a16:creationId xmlns:a16="http://schemas.microsoft.com/office/drawing/2014/main" id="{E3D1AAE3-78D4-3900-EC14-93255434D8AD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8" name="Полилиния: фигура 57">
            <a:extLst>
              <a:ext uri="{FF2B5EF4-FFF2-40B4-BE49-F238E27FC236}">
                <a16:creationId xmlns:a16="http://schemas.microsoft.com/office/drawing/2014/main" id="{39436597-275E-B3E6-1DAB-CAF537F82E50}"/>
              </a:ext>
            </a:extLst>
          </p:cNvPr>
          <p:cNvSpPr/>
          <p:nvPr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F0AA0D0-E6D7-0849-E730-1598B0ABEC6F}"/>
              </a:ext>
            </a:extLst>
          </p:cNvPr>
          <p:cNvSpPr txBox="1"/>
          <p:nvPr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sp>
        <p:nvSpPr>
          <p:cNvPr id="3" name="Прямоугольник: скругленные верхние углы 2">
            <a:extLst>
              <a:ext uri="{FF2B5EF4-FFF2-40B4-BE49-F238E27FC236}">
                <a16:creationId xmlns:a16="http://schemas.microsoft.com/office/drawing/2014/main" id="{D1B15945-87AF-F9F3-2DE0-3A1B323E535F}"/>
              </a:ext>
            </a:extLst>
          </p:cNvPr>
          <p:cNvSpPr/>
          <p:nvPr userDrawn="1"/>
        </p:nvSpPr>
        <p:spPr>
          <a:xfrm>
            <a:off x="-2136930" y="0"/>
            <a:ext cx="1926713" cy="288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</a:rPr>
              <a:t>Размеры текста</a:t>
            </a:r>
          </a:p>
        </p:txBody>
      </p:sp>
      <p:sp>
        <p:nvSpPr>
          <p:cNvPr id="5" name="Полилиния: фигура 4">
            <a:extLst>
              <a:ext uri="{FF2B5EF4-FFF2-40B4-BE49-F238E27FC236}">
                <a16:creationId xmlns:a16="http://schemas.microsoft.com/office/drawing/2014/main" id="{376C75D7-5626-838A-6058-04D945C0E7E6}"/>
              </a:ext>
            </a:extLst>
          </p:cNvPr>
          <p:cNvSpPr/>
          <p:nvPr userDrawn="1"/>
        </p:nvSpPr>
        <p:spPr>
          <a:xfrm>
            <a:off x="-2004344" y="2488864"/>
            <a:ext cx="216624" cy="228657"/>
          </a:xfrm>
          <a:custGeom>
            <a:avLst/>
            <a:gdLst>
              <a:gd name="connsiteX0" fmla="*/ 72536 w 171450"/>
              <a:gd name="connsiteY0" fmla="*/ 162210 h 180974"/>
              <a:gd name="connsiteX1" fmla="*/ 98923 w 171450"/>
              <a:gd name="connsiteY1" fmla="*/ 162210 h 180974"/>
              <a:gd name="connsiteX2" fmla="*/ 103600 w 171450"/>
              <a:gd name="connsiteY2" fmla="*/ 172160 h 180974"/>
              <a:gd name="connsiteX3" fmla="*/ 85726 w 171450"/>
              <a:gd name="connsiteY3" fmla="*/ 180974 h 180974"/>
              <a:gd name="connsiteX4" fmla="*/ 67852 w 171450"/>
              <a:gd name="connsiteY4" fmla="*/ 172160 h 180974"/>
              <a:gd name="connsiteX5" fmla="*/ 72536 w 171450"/>
              <a:gd name="connsiteY5" fmla="*/ 162210 h 180974"/>
              <a:gd name="connsiteX6" fmla="*/ 152400 w 171450"/>
              <a:gd name="connsiteY6" fmla="*/ 76200 h 180974"/>
              <a:gd name="connsiteX7" fmla="*/ 161925 w 171450"/>
              <a:gd name="connsiteY7" fmla="*/ 76200 h 180974"/>
              <a:gd name="connsiteX8" fmla="*/ 171450 w 171450"/>
              <a:gd name="connsiteY8" fmla="*/ 85725 h 180974"/>
              <a:gd name="connsiteX9" fmla="*/ 161925 w 171450"/>
              <a:gd name="connsiteY9" fmla="*/ 95250 h 180974"/>
              <a:gd name="connsiteX10" fmla="*/ 152400 w 171450"/>
              <a:gd name="connsiteY10" fmla="*/ 95250 h 180974"/>
              <a:gd name="connsiteX11" fmla="*/ 142875 w 171450"/>
              <a:gd name="connsiteY11" fmla="*/ 85725 h 180974"/>
              <a:gd name="connsiteX12" fmla="*/ 152400 w 171450"/>
              <a:gd name="connsiteY12" fmla="*/ 76200 h 180974"/>
              <a:gd name="connsiteX13" fmla="*/ 9525 w 171450"/>
              <a:gd name="connsiteY13" fmla="*/ 76200 h 180974"/>
              <a:gd name="connsiteX14" fmla="*/ 19050 w 171450"/>
              <a:gd name="connsiteY14" fmla="*/ 76200 h 180974"/>
              <a:gd name="connsiteX15" fmla="*/ 28575 w 171450"/>
              <a:gd name="connsiteY15" fmla="*/ 85725 h 180974"/>
              <a:gd name="connsiteX16" fmla="*/ 19050 w 171450"/>
              <a:gd name="connsiteY16" fmla="*/ 95250 h 180974"/>
              <a:gd name="connsiteX17" fmla="*/ 9525 w 171450"/>
              <a:gd name="connsiteY17" fmla="*/ 95250 h 180974"/>
              <a:gd name="connsiteX18" fmla="*/ 0 w 171450"/>
              <a:gd name="connsiteY18" fmla="*/ 85725 h 180974"/>
              <a:gd name="connsiteX19" fmla="*/ 9525 w 171450"/>
              <a:gd name="connsiteY19" fmla="*/ 76200 h 180974"/>
              <a:gd name="connsiteX20" fmla="*/ 85725 w 171450"/>
              <a:gd name="connsiteY20" fmla="*/ 38100 h 180974"/>
              <a:gd name="connsiteX21" fmla="*/ 133350 w 171450"/>
              <a:gd name="connsiteY21" fmla="*/ 85725 h 180974"/>
              <a:gd name="connsiteX22" fmla="*/ 123174 w 171450"/>
              <a:gd name="connsiteY22" fmla="*/ 114596 h 180974"/>
              <a:gd name="connsiteX23" fmla="*/ 114300 w 171450"/>
              <a:gd name="connsiteY23" fmla="*/ 138113 h 180974"/>
              <a:gd name="connsiteX24" fmla="*/ 85725 w 171450"/>
              <a:gd name="connsiteY24" fmla="*/ 152400 h 180974"/>
              <a:gd name="connsiteX25" fmla="*/ 57150 w 171450"/>
              <a:gd name="connsiteY25" fmla="*/ 138113 h 180974"/>
              <a:gd name="connsiteX26" fmla="*/ 48275 w 171450"/>
              <a:gd name="connsiteY26" fmla="*/ 114596 h 180974"/>
              <a:gd name="connsiteX27" fmla="*/ 38100 w 171450"/>
              <a:gd name="connsiteY27" fmla="*/ 85725 h 180974"/>
              <a:gd name="connsiteX28" fmla="*/ 85725 w 171450"/>
              <a:gd name="connsiteY28" fmla="*/ 38100 h 180974"/>
              <a:gd name="connsiteX29" fmla="*/ 136141 w 171450"/>
              <a:gd name="connsiteY29" fmla="*/ 21840 h 180974"/>
              <a:gd name="connsiteX30" fmla="*/ 149611 w 171450"/>
              <a:gd name="connsiteY30" fmla="*/ 21840 h 180974"/>
              <a:gd name="connsiteX31" fmla="*/ 149611 w 171450"/>
              <a:gd name="connsiteY31" fmla="*/ 35310 h 180974"/>
              <a:gd name="connsiteX32" fmla="*/ 140086 w 171450"/>
              <a:gd name="connsiteY32" fmla="*/ 44835 h 180974"/>
              <a:gd name="connsiteX33" fmla="*/ 126616 w 171450"/>
              <a:gd name="connsiteY33" fmla="*/ 44835 h 180974"/>
              <a:gd name="connsiteX34" fmla="*/ 126616 w 171450"/>
              <a:gd name="connsiteY34" fmla="*/ 31365 h 180974"/>
              <a:gd name="connsiteX35" fmla="*/ 21840 w 171450"/>
              <a:gd name="connsiteY35" fmla="*/ 21840 h 180974"/>
              <a:gd name="connsiteX36" fmla="*/ 35310 w 171450"/>
              <a:gd name="connsiteY36" fmla="*/ 21840 h 180974"/>
              <a:gd name="connsiteX37" fmla="*/ 44835 w 171450"/>
              <a:gd name="connsiteY37" fmla="*/ 31365 h 180974"/>
              <a:gd name="connsiteX38" fmla="*/ 44835 w 171450"/>
              <a:gd name="connsiteY38" fmla="*/ 44835 h 180974"/>
              <a:gd name="connsiteX39" fmla="*/ 31365 w 171450"/>
              <a:gd name="connsiteY39" fmla="*/ 44835 h 180974"/>
              <a:gd name="connsiteX40" fmla="*/ 21840 w 171450"/>
              <a:gd name="connsiteY40" fmla="*/ 35310 h 180974"/>
              <a:gd name="connsiteX41" fmla="*/ 21840 w 171450"/>
              <a:gd name="connsiteY41" fmla="*/ 21840 h 180974"/>
              <a:gd name="connsiteX42" fmla="*/ 85725 w 171450"/>
              <a:gd name="connsiteY42" fmla="*/ 0 h 180974"/>
              <a:gd name="connsiteX43" fmla="*/ 95250 w 171450"/>
              <a:gd name="connsiteY43" fmla="*/ 9525 h 180974"/>
              <a:gd name="connsiteX44" fmla="*/ 95250 w 171450"/>
              <a:gd name="connsiteY44" fmla="*/ 19050 h 180974"/>
              <a:gd name="connsiteX45" fmla="*/ 85725 w 171450"/>
              <a:gd name="connsiteY45" fmla="*/ 28575 h 180974"/>
              <a:gd name="connsiteX46" fmla="*/ 76200 w 171450"/>
              <a:gd name="connsiteY46" fmla="*/ 19050 h 180974"/>
              <a:gd name="connsiteX47" fmla="*/ 76200 w 171450"/>
              <a:gd name="connsiteY47" fmla="*/ 9525 h 180974"/>
              <a:gd name="connsiteX48" fmla="*/ 85725 w 171450"/>
              <a:gd name="connsiteY48" fmla="*/ 0 h 18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71450" h="180974">
                <a:moveTo>
                  <a:pt x="72536" y="162210"/>
                </a:moveTo>
                <a:cubicBezTo>
                  <a:pt x="80449" y="164140"/>
                  <a:pt x="90933" y="164211"/>
                  <a:pt x="98923" y="162210"/>
                </a:cubicBezTo>
                <a:cubicBezTo>
                  <a:pt x="105617" y="160534"/>
                  <a:pt x="105617" y="166533"/>
                  <a:pt x="103600" y="172160"/>
                </a:cubicBezTo>
                <a:cubicBezTo>
                  <a:pt x="100950" y="179549"/>
                  <a:pt x="95451" y="180974"/>
                  <a:pt x="85726" y="180974"/>
                </a:cubicBezTo>
                <a:cubicBezTo>
                  <a:pt x="76000" y="180974"/>
                  <a:pt x="70501" y="179549"/>
                  <a:pt x="67852" y="172160"/>
                </a:cubicBezTo>
                <a:cubicBezTo>
                  <a:pt x="65835" y="166534"/>
                  <a:pt x="65835" y="160576"/>
                  <a:pt x="72536" y="162210"/>
                </a:cubicBezTo>
                <a:close/>
                <a:moveTo>
                  <a:pt x="152400" y="76200"/>
                </a:moveTo>
                <a:lnTo>
                  <a:pt x="161925" y="76200"/>
                </a:lnTo>
                <a:cubicBezTo>
                  <a:pt x="167186" y="76200"/>
                  <a:pt x="171450" y="80464"/>
                  <a:pt x="171450" y="85725"/>
                </a:cubicBezTo>
                <a:cubicBezTo>
                  <a:pt x="171450" y="90986"/>
                  <a:pt x="167186" y="95250"/>
                  <a:pt x="161925" y="95250"/>
                </a:cubicBezTo>
                <a:lnTo>
                  <a:pt x="152400" y="95250"/>
                </a:lnTo>
                <a:cubicBezTo>
                  <a:pt x="147139" y="95250"/>
                  <a:pt x="142875" y="90986"/>
                  <a:pt x="142875" y="85725"/>
                </a:cubicBezTo>
                <a:cubicBezTo>
                  <a:pt x="142875" y="80464"/>
                  <a:pt x="147139" y="76200"/>
                  <a:pt x="152400" y="76200"/>
                </a:cubicBezTo>
                <a:close/>
                <a:moveTo>
                  <a:pt x="9525" y="76200"/>
                </a:moveTo>
                <a:lnTo>
                  <a:pt x="19050" y="76200"/>
                </a:lnTo>
                <a:cubicBezTo>
                  <a:pt x="24310" y="76200"/>
                  <a:pt x="28575" y="80464"/>
                  <a:pt x="28575" y="85725"/>
                </a:cubicBezTo>
                <a:cubicBezTo>
                  <a:pt x="28575" y="90986"/>
                  <a:pt x="24310" y="95250"/>
                  <a:pt x="19050" y="95250"/>
                </a:cubicBezTo>
                <a:lnTo>
                  <a:pt x="9525" y="95250"/>
                </a:lnTo>
                <a:cubicBezTo>
                  <a:pt x="4265" y="95250"/>
                  <a:pt x="0" y="90986"/>
                  <a:pt x="0" y="85725"/>
                </a:cubicBezTo>
                <a:cubicBezTo>
                  <a:pt x="0" y="80464"/>
                  <a:pt x="4265" y="76200"/>
                  <a:pt x="9525" y="76200"/>
                </a:cubicBezTo>
                <a:close/>
                <a:moveTo>
                  <a:pt x="85725" y="38100"/>
                </a:moveTo>
                <a:cubicBezTo>
                  <a:pt x="112027" y="38100"/>
                  <a:pt x="133350" y="58671"/>
                  <a:pt x="133350" y="85725"/>
                </a:cubicBezTo>
                <a:cubicBezTo>
                  <a:pt x="133350" y="100663"/>
                  <a:pt x="128144" y="107793"/>
                  <a:pt x="123174" y="114596"/>
                </a:cubicBezTo>
                <a:cubicBezTo>
                  <a:pt x="118639" y="120807"/>
                  <a:pt x="114300" y="126748"/>
                  <a:pt x="114300" y="138113"/>
                </a:cubicBezTo>
                <a:cubicBezTo>
                  <a:pt x="114300" y="147638"/>
                  <a:pt x="104775" y="152400"/>
                  <a:pt x="85725" y="152400"/>
                </a:cubicBezTo>
                <a:cubicBezTo>
                  <a:pt x="66675" y="152400"/>
                  <a:pt x="57150" y="147638"/>
                  <a:pt x="57150" y="138113"/>
                </a:cubicBezTo>
                <a:cubicBezTo>
                  <a:pt x="57150" y="126748"/>
                  <a:pt x="52811" y="120807"/>
                  <a:pt x="48275" y="114596"/>
                </a:cubicBezTo>
                <a:cubicBezTo>
                  <a:pt x="43306" y="107793"/>
                  <a:pt x="38100" y="100663"/>
                  <a:pt x="38100" y="85725"/>
                </a:cubicBezTo>
                <a:cubicBezTo>
                  <a:pt x="38100" y="57150"/>
                  <a:pt x="59422" y="38100"/>
                  <a:pt x="85725" y="38100"/>
                </a:cubicBezTo>
                <a:close/>
                <a:moveTo>
                  <a:pt x="136141" y="21840"/>
                </a:moveTo>
                <a:cubicBezTo>
                  <a:pt x="139860" y="18120"/>
                  <a:pt x="145891" y="18120"/>
                  <a:pt x="149611" y="21840"/>
                </a:cubicBezTo>
                <a:cubicBezTo>
                  <a:pt x="153330" y="25560"/>
                  <a:pt x="153330" y="31590"/>
                  <a:pt x="149611" y="35310"/>
                </a:cubicBezTo>
                <a:lnTo>
                  <a:pt x="140086" y="44835"/>
                </a:lnTo>
                <a:cubicBezTo>
                  <a:pt x="136366" y="48555"/>
                  <a:pt x="130335" y="48555"/>
                  <a:pt x="126616" y="44835"/>
                </a:cubicBezTo>
                <a:cubicBezTo>
                  <a:pt x="122896" y="41115"/>
                  <a:pt x="122896" y="35085"/>
                  <a:pt x="126616" y="31365"/>
                </a:cubicBezTo>
                <a:close/>
                <a:moveTo>
                  <a:pt x="21840" y="21840"/>
                </a:moveTo>
                <a:cubicBezTo>
                  <a:pt x="25560" y="18120"/>
                  <a:pt x="31590" y="18120"/>
                  <a:pt x="35310" y="21840"/>
                </a:cubicBezTo>
                <a:lnTo>
                  <a:pt x="44835" y="31365"/>
                </a:lnTo>
                <a:cubicBezTo>
                  <a:pt x="48555" y="35085"/>
                  <a:pt x="48555" y="41115"/>
                  <a:pt x="44835" y="44835"/>
                </a:cubicBezTo>
                <a:cubicBezTo>
                  <a:pt x="41115" y="48555"/>
                  <a:pt x="35085" y="48555"/>
                  <a:pt x="31365" y="44835"/>
                </a:cubicBezTo>
                <a:lnTo>
                  <a:pt x="21840" y="35310"/>
                </a:lnTo>
                <a:cubicBezTo>
                  <a:pt x="18120" y="31590"/>
                  <a:pt x="18120" y="25560"/>
                  <a:pt x="21840" y="21840"/>
                </a:cubicBezTo>
                <a:close/>
                <a:moveTo>
                  <a:pt x="85725" y="0"/>
                </a:moveTo>
                <a:cubicBezTo>
                  <a:pt x="90986" y="0"/>
                  <a:pt x="95250" y="4265"/>
                  <a:pt x="95250" y="9525"/>
                </a:cubicBezTo>
                <a:lnTo>
                  <a:pt x="95250" y="19050"/>
                </a:lnTo>
                <a:cubicBezTo>
                  <a:pt x="95250" y="24310"/>
                  <a:pt x="90986" y="28575"/>
                  <a:pt x="85725" y="28575"/>
                </a:cubicBezTo>
                <a:cubicBezTo>
                  <a:pt x="80464" y="28575"/>
                  <a:pt x="76200" y="24310"/>
                  <a:pt x="76200" y="19050"/>
                </a:cubicBezTo>
                <a:lnTo>
                  <a:pt x="76200" y="9525"/>
                </a:lnTo>
                <a:cubicBezTo>
                  <a:pt x="76200" y="4265"/>
                  <a:pt x="80464" y="0"/>
                  <a:pt x="85725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460A991C-BA4C-C31C-B948-D5F252D0A83E}"/>
              </a:ext>
            </a:extLst>
          </p:cNvPr>
          <p:cNvSpPr txBox="1"/>
          <p:nvPr userDrawn="1"/>
        </p:nvSpPr>
        <p:spPr>
          <a:xfrm>
            <a:off x="-1691344" y="2506490"/>
            <a:ext cx="1373969" cy="242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0">
                <a:solidFill>
                  <a:schemeClr val="accent1"/>
                </a:solidFill>
              </a:rPr>
              <a:t>Используй эти размеры </a:t>
            </a:r>
            <a:br>
              <a:rPr lang="ru-RU" sz="900" b="0">
                <a:solidFill>
                  <a:schemeClr val="accent1"/>
                </a:solidFill>
              </a:rPr>
            </a:br>
            <a:r>
              <a:rPr lang="ru-RU" sz="900" b="0">
                <a:solidFill>
                  <a:schemeClr val="accent1"/>
                </a:solidFill>
              </a:rPr>
              <a:t>по всей презентации</a:t>
            </a:r>
          </a:p>
        </p:txBody>
      </p:sp>
      <p:grpSp>
        <p:nvGrpSpPr>
          <p:cNvPr id="99" name="Группа 98">
            <a:extLst>
              <a:ext uri="{FF2B5EF4-FFF2-40B4-BE49-F238E27FC236}">
                <a16:creationId xmlns:a16="http://schemas.microsoft.com/office/drawing/2014/main" id="{2E71DD8D-C54C-374A-9710-1CDE851D0C87}"/>
              </a:ext>
            </a:extLst>
          </p:cNvPr>
          <p:cNvGrpSpPr/>
          <p:nvPr userDrawn="1"/>
        </p:nvGrpSpPr>
        <p:grpSpPr>
          <a:xfrm>
            <a:off x="-2138458" y="3080607"/>
            <a:ext cx="1935384" cy="3777393"/>
            <a:chOff x="-2138458" y="3080607"/>
            <a:chExt cx="1935384" cy="3777393"/>
          </a:xfrm>
        </p:grpSpPr>
        <p:grpSp>
          <p:nvGrpSpPr>
            <p:cNvPr id="100" name="Группа 99">
              <a:extLst>
                <a:ext uri="{FF2B5EF4-FFF2-40B4-BE49-F238E27FC236}">
                  <a16:creationId xmlns:a16="http://schemas.microsoft.com/office/drawing/2014/main" id="{B53855B0-DA7A-AE45-A173-614583F73039}"/>
                </a:ext>
              </a:extLst>
            </p:cNvPr>
            <p:cNvGrpSpPr/>
            <p:nvPr userDrawn="1"/>
          </p:nvGrpSpPr>
          <p:grpSpPr>
            <a:xfrm>
              <a:off x="-2131314" y="5782119"/>
              <a:ext cx="1928240" cy="1075881"/>
              <a:chOff x="-2131314" y="5782119"/>
              <a:chExt cx="1928240" cy="1075881"/>
            </a:xfrm>
          </p:grpSpPr>
          <p:sp>
            <p:nvSpPr>
              <p:cNvPr id="126" name="Прямоугольник: скругленные углы 89">
                <a:extLst>
                  <a:ext uri="{FF2B5EF4-FFF2-40B4-BE49-F238E27FC236}">
                    <a16:creationId xmlns:a16="http://schemas.microsoft.com/office/drawing/2014/main" id="{7159AD1D-C09D-8647-A4AA-10E7BFB4D65C}"/>
                  </a:ext>
                </a:extLst>
              </p:cNvPr>
              <p:cNvSpPr/>
              <p:nvPr/>
            </p:nvSpPr>
            <p:spPr>
              <a:xfrm>
                <a:off x="-2131314" y="5782119"/>
                <a:ext cx="1928240" cy="1075881"/>
              </a:xfrm>
              <a:prstGeom prst="roundRect">
                <a:avLst>
                  <a:gd name="adj" fmla="val 12985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E33568B0-11B5-1141-8702-FA715885AE3C}"/>
                  </a:ext>
                </a:extLst>
              </p:cNvPr>
              <p:cNvSpPr txBox="1"/>
              <p:nvPr/>
            </p:nvSpPr>
            <p:spPr>
              <a:xfrm>
                <a:off x="-1788338" y="5868204"/>
                <a:ext cx="1155882" cy="15109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lnSpc>
                    <a:spcPct val="90000"/>
                  </a:lnSpc>
                </a:pPr>
                <a:r>
                  <a:rPr lang="ru-RU" sz="1000" b="1">
                    <a:solidFill>
                      <a:schemeClr val="accent1"/>
                    </a:solidFill>
                  </a:rPr>
                  <a:t>Шаблон </a:t>
                </a:r>
                <a:r>
                  <a:rPr lang="en-US" sz="1000" b="1">
                    <a:solidFill>
                      <a:schemeClr val="accent1"/>
                    </a:solidFill>
                  </a:rPr>
                  <a:t>Ozon</a:t>
                </a:r>
                <a:endParaRPr lang="ru-RU" sz="100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28" name="Рисунок 93">
                <a:extLst>
                  <a:ext uri="{FF2B5EF4-FFF2-40B4-BE49-F238E27FC236}">
                    <a16:creationId xmlns:a16="http://schemas.microsoft.com/office/drawing/2014/main" id="{40273014-DBDC-8E4F-B059-5B0DD4EC34FF}"/>
                  </a:ext>
                </a:extLst>
              </p:cNvPr>
              <p:cNvSpPr/>
              <p:nvPr/>
            </p:nvSpPr>
            <p:spPr>
              <a:xfrm>
                <a:off x="-2004963" y="5853908"/>
                <a:ext cx="161099" cy="161099"/>
              </a:xfrm>
              <a:custGeom>
                <a:avLst/>
                <a:gdLst>
                  <a:gd name="connsiteX0" fmla="*/ 85725 w 171450"/>
                  <a:gd name="connsiteY0" fmla="*/ 171450 h 171450"/>
                  <a:gd name="connsiteX1" fmla="*/ 171450 w 171450"/>
                  <a:gd name="connsiteY1" fmla="*/ 85725 h 171450"/>
                  <a:gd name="connsiteX2" fmla="*/ 85725 w 171450"/>
                  <a:gd name="connsiteY2" fmla="*/ 0 h 171450"/>
                  <a:gd name="connsiteX3" fmla="*/ 0 w 171450"/>
                  <a:gd name="connsiteY3" fmla="*/ 85725 h 171450"/>
                  <a:gd name="connsiteX4" fmla="*/ 85725 w 171450"/>
                  <a:gd name="connsiteY4" fmla="*/ 171450 h 171450"/>
                  <a:gd name="connsiteX5" fmla="*/ 130560 w 171450"/>
                  <a:gd name="connsiteY5" fmla="*/ 73410 h 171450"/>
                  <a:gd name="connsiteX6" fmla="*/ 82935 w 171450"/>
                  <a:gd name="connsiteY6" fmla="*/ 121035 h 171450"/>
                  <a:gd name="connsiteX7" fmla="*/ 69465 w 171450"/>
                  <a:gd name="connsiteY7" fmla="*/ 121035 h 171450"/>
                  <a:gd name="connsiteX8" fmla="*/ 40890 w 171450"/>
                  <a:gd name="connsiteY8" fmla="*/ 92460 h 171450"/>
                  <a:gd name="connsiteX9" fmla="*/ 40890 w 171450"/>
                  <a:gd name="connsiteY9" fmla="*/ 78990 h 171450"/>
                  <a:gd name="connsiteX10" fmla="*/ 54360 w 171450"/>
                  <a:gd name="connsiteY10" fmla="*/ 78990 h 171450"/>
                  <a:gd name="connsiteX11" fmla="*/ 76200 w 171450"/>
                  <a:gd name="connsiteY11" fmla="*/ 100830 h 171450"/>
                  <a:gd name="connsiteX12" fmla="*/ 117090 w 171450"/>
                  <a:gd name="connsiteY12" fmla="*/ 59940 h 171450"/>
                  <a:gd name="connsiteX13" fmla="*/ 130560 w 171450"/>
                  <a:gd name="connsiteY13" fmla="*/ 59940 h 171450"/>
                  <a:gd name="connsiteX14" fmla="*/ 130560 w 171450"/>
                  <a:gd name="connsiteY14" fmla="*/ 7341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1450" h="171450">
                    <a:moveTo>
                      <a:pt x="85725" y="171450"/>
                    </a:moveTo>
                    <a:cubicBezTo>
                      <a:pt x="138915" y="171450"/>
                      <a:pt x="171450" y="138915"/>
                      <a:pt x="171450" y="85725"/>
                    </a:cubicBezTo>
                    <a:cubicBezTo>
                      <a:pt x="171450" y="32535"/>
                      <a:pt x="138915" y="0"/>
                      <a:pt x="85725" y="0"/>
                    </a:cubicBezTo>
                    <a:cubicBezTo>
                      <a:pt x="32535" y="0"/>
                      <a:pt x="0" y="32535"/>
                      <a:pt x="0" y="85725"/>
                    </a:cubicBezTo>
                    <a:cubicBezTo>
                      <a:pt x="0" y="138915"/>
                      <a:pt x="32535" y="171450"/>
                      <a:pt x="85725" y="171450"/>
                    </a:cubicBezTo>
                    <a:close/>
                    <a:moveTo>
                      <a:pt x="130560" y="73410"/>
                    </a:moveTo>
                    <a:lnTo>
                      <a:pt x="82935" y="121035"/>
                    </a:lnTo>
                    <a:cubicBezTo>
                      <a:pt x="79216" y="124755"/>
                      <a:pt x="73184" y="124755"/>
                      <a:pt x="69465" y="121035"/>
                    </a:cubicBezTo>
                    <a:lnTo>
                      <a:pt x="40890" y="92460"/>
                    </a:lnTo>
                    <a:cubicBezTo>
                      <a:pt x="37170" y="88741"/>
                      <a:pt x="37170" y="82709"/>
                      <a:pt x="40890" y="78990"/>
                    </a:cubicBezTo>
                    <a:cubicBezTo>
                      <a:pt x="44610" y="75270"/>
                      <a:pt x="50640" y="75270"/>
                      <a:pt x="54360" y="78990"/>
                    </a:cubicBezTo>
                    <a:lnTo>
                      <a:pt x="76200" y="100830"/>
                    </a:lnTo>
                    <a:lnTo>
                      <a:pt x="117090" y="59940"/>
                    </a:lnTo>
                    <a:cubicBezTo>
                      <a:pt x="120809" y="56220"/>
                      <a:pt x="126841" y="56220"/>
                      <a:pt x="130560" y="59940"/>
                    </a:cubicBezTo>
                    <a:cubicBezTo>
                      <a:pt x="134280" y="63660"/>
                      <a:pt x="134280" y="69691"/>
                      <a:pt x="130560" y="734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BE28EB6D-6A7C-A94F-821E-17CA0CB207E6}"/>
                  </a:ext>
                </a:extLst>
              </p:cNvPr>
              <p:cNvSpPr txBox="1"/>
              <p:nvPr/>
            </p:nvSpPr>
            <p:spPr>
              <a:xfrm>
                <a:off x="-2004962" y="6072106"/>
                <a:ext cx="1687587" cy="60024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>
                  <a:lnSpc>
                    <a:spcPct val="110000"/>
                  </a:lnSpc>
                </a:pPr>
                <a:r>
                  <a:rPr lang="ru-RU" sz="900" spc="-30" baseline="0">
                    <a:solidFill>
                      <a:schemeClr val="tx2"/>
                    </a:solidFill>
                  </a:rPr>
                  <a:t>Если нужно больше материалов: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правое меню </a:t>
                </a:r>
                <a:r>
                  <a:rPr lang="en-US" sz="900" b="1" spc="-30" baseline="0">
                    <a:solidFill>
                      <a:schemeClr val="tx2"/>
                    </a:solidFill>
                  </a:rPr>
                  <a:t>Staff — Brand </a:t>
                </a:r>
                <a:r>
                  <a:rPr lang="ru-RU" sz="900" b="1" spc="-30" baseline="0">
                    <a:solidFill>
                      <a:schemeClr val="tx2"/>
                    </a:solidFill>
                  </a:rPr>
                  <a:t>— Всё для презентаций. 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Или пиши нам на </a:t>
                </a:r>
                <a:r>
                  <a:rPr lang="en-US" sz="900" b="0" spc="-30" baseline="0">
                    <a:solidFill>
                      <a:schemeClr val="tx2"/>
                    </a:solidFill>
                  </a:rPr>
                  <a:t>presentations@ozon.ru.</a:t>
                </a:r>
                <a:r>
                  <a:rPr lang="ru-RU" sz="900" b="0" spc="-30" baseline="0">
                    <a:solidFill>
                      <a:schemeClr val="tx2"/>
                    </a:solidFill>
                  </a:rPr>
                  <a:t> </a:t>
                </a:r>
              </a:p>
            </p:txBody>
          </p:sp>
        </p:grpSp>
        <p:grpSp>
          <p:nvGrpSpPr>
            <p:cNvPr id="101" name="Группа 100">
              <a:extLst>
                <a:ext uri="{FF2B5EF4-FFF2-40B4-BE49-F238E27FC236}">
                  <a16:creationId xmlns:a16="http://schemas.microsoft.com/office/drawing/2014/main" id="{6F63AD88-FFF4-B441-A69B-64E098AD1010}"/>
                </a:ext>
              </a:extLst>
            </p:cNvPr>
            <p:cNvGrpSpPr/>
            <p:nvPr userDrawn="1"/>
          </p:nvGrpSpPr>
          <p:grpSpPr>
            <a:xfrm>
              <a:off x="-2138458" y="3080607"/>
              <a:ext cx="1928241" cy="2523683"/>
              <a:chOff x="-2138458" y="3070447"/>
              <a:chExt cx="1928241" cy="2523683"/>
            </a:xfrm>
          </p:grpSpPr>
          <p:sp>
            <p:nvSpPr>
              <p:cNvPr id="102" name="Прямоугольник: скругленные углы 57">
                <a:extLst>
                  <a:ext uri="{FF2B5EF4-FFF2-40B4-BE49-F238E27FC236}">
                    <a16:creationId xmlns:a16="http://schemas.microsoft.com/office/drawing/2014/main" id="{EE1DB3FB-2874-5C4C-A609-057380990A72}"/>
                  </a:ext>
                </a:extLst>
              </p:cNvPr>
              <p:cNvSpPr/>
              <p:nvPr/>
            </p:nvSpPr>
            <p:spPr>
              <a:xfrm>
                <a:off x="-2138458" y="3125312"/>
                <a:ext cx="1928241" cy="2468818"/>
              </a:xfrm>
              <a:prstGeom prst="roundRect">
                <a:avLst>
                  <a:gd name="adj" fmla="val 5926"/>
                </a:avLst>
              </a:prstGeom>
              <a:solidFill>
                <a:schemeClr val="bg1"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3" name="Прямоугольник: скругленные верхние углы 58">
                <a:extLst>
                  <a:ext uri="{FF2B5EF4-FFF2-40B4-BE49-F238E27FC236}">
                    <a16:creationId xmlns:a16="http://schemas.microsoft.com/office/drawing/2014/main" id="{EE39FAF2-0900-DF43-8015-C2169FC456FD}"/>
                  </a:ext>
                </a:extLst>
              </p:cNvPr>
              <p:cNvSpPr/>
              <p:nvPr/>
            </p:nvSpPr>
            <p:spPr>
              <a:xfrm>
                <a:off x="-2136930" y="3070447"/>
                <a:ext cx="1926713" cy="288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36000" rtlCol="0" anchor="ctr"/>
              <a:lstStyle/>
              <a:p>
                <a:pPr algn="ctr"/>
                <a:r>
                  <a:rPr lang="ru-RU" sz="1100" b="1">
                    <a:solidFill>
                      <a:schemeClr val="tx1"/>
                    </a:solidFill>
                  </a:rPr>
                  <a:t>Цвета </a:t>
                </a:r>
                <a:r>
                  <a:rPr lang="en-US" sz="1100" b="1">
                    <a:solidFill>
                      <a:schemeClr val="tx1"/>
                    </a:solidFill>
                  </a:rPr>
                  <a:t>Ozon</a:t>
                </a:r>
                <a:endParaRPr lang="ru-RU" sz="11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F2D0638E-C82E-AA4F-9A3C-0F0C4889B269}"/>
                  </a:ext>
                </a:extLst>
              </p:cNvPr>
              <p:cNvSpPr txBox="1"/>
              <p:nvPr/>
            </p:nvSpPr>
            <p:spPr>
              <a:xfrm>
                <a:off x="-2003446" y="3412239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 dirty="0"/>
                  <a:t>Цвет текста </a:t>
                </a:r>
              </a:p>
            </p:txBody>
          </p:sp>
          <p:sp>
            <p:nvSpPr>
              <p:cNvPr id="105" name="Прямоугольник: скругленные углы 61">
                <a:extLst>
                  <a:ext uri="{FF2B5EF4-FFF2-40B4-BE49-F238E27FC236}">
                    <a16:creationId xmlns:a16="http://schemas.microsoft.com/office/drawing/2014/main" id="{E7C333EA-AFEE-0042-929F-A50583107B88}"/>
                  </a:ext>
                </a:extLst>
              </p:cNvPr>
              <p:cNvSpPr/>
              <p:nvPr userDrawn="1"/>
            </p:nvSpPr>
            <p:spPr>
              <a:xfrm>
                <a:off x="-2004344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tx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6" name="Прямоугольник: скругленные углы 62">
                <a:extLst>
                  <a:ext uri="{FF2B5EF4-FFF2-40B4-BE49-F238E27FC236}">
                    <a16:creationId xmlns:a16="http://schemas.microsoft.com/office/drawing/2014/main" id="{A6D201BF-E90D-9143-84E4-E1844FC5F0A1}"/>
                  </a:ext>
                </a:extLst>
              </p:cNvPr>
              <p:cNvSpPr/>
              <p:nvPr/>
            </p:nvSpPr>
            <p:spPr>
              <a:xfrm>
                <a:off x="-1738339" y="3611632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7" name="Прямоугольник: скругленные углы 63">
                <a:extLst>
                  <a:ext uri="{FF2B5EF4-FFF2-40B4-BE49-F238E27FC236}">
                    <a16:creationId xmlns:a16="http://schemas.microsoft.com/office/drawing/2014/main" id="{E0610E90-A29F-5143-8FC6-FC430BFB8135}"/>
                  </a:ext>
                </a:extLst>
              </p:cNvPr>
              <p:cNvSpPr/>
              <p:nvPr/>
            </p:nvSpPr>
            <p:spPr>
              <a:xfrm>
                <a:off x="-1739900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3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8" name="Прямоугольник: скругленные углы 68">
                <a:extLst>
                  <a:ext uri="{FF2B5EF4-FFF2-40B4-BE49-F238E27FC236}">
                    <a16:creationId xmlns:a16="http://schemas.microsoft.com/office/drawing/2014/main" id="{F532578D-C6A7-3E41-AC25-F7E0C266A6F6}"/>
                  </a:ext>
                </a:extLst>
              </p:cNvPr>
              <p:cNvSpPr/>
              <p:nvPr/>
            </p:nvSpPr>
            <p:spPr>
              <a:xfrm>
                <a:off x="-2004963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1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D3E7CF2D-4E99-D648-9065-91ED8253D14D}"/>
                  </a:ext>
                </a:extLst>
              </p:cNvPr>
              <p:cNvSpPr txBox="1"/>
              <p:nvPr/>
            </p:nvSpPr>
            <p:spPr>
              <a:xfrm>
                <a:off x="-2003446" y="3935644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 больших плашек</a:t>
                </a:r>
              </a:p>
            </p:txBody>
          </p:sp>
          <p:sp>
            <p:nvSpPr>
              <p:cNvPr id="110" name="Прямоугольник: скругленные углы 70">
                <a:extLst>
                  <a:ext uri="{FF2B5EF4-FFF2-40B4-BE49-F238E27FC236}">
                    <a16:creationId xmlns:a16="http://schemas.microsoft.com/office/drawing/2014/main" id="{D7748610-2B67-AE4A-87D5-AD06019CD507}"/>
                  </a:ext>
                </a:extLst>
              </p:cNvPr>
              <p:cNvSpPr/>
              <p:nvPr/>
            </p:nvSpPr>
            <p:spPr>
              <a:xfrm>
                <a:off x="-1209774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1" name="Прямоугольник: скругленные углы 71">
                <a:extLst>
                  <a:ext uri="{FF2B5EF4-FFF2-40B4-BE49-F238E27FC236}">
                    <a16:creationId xmlns:a16="http://schemas.microsoft.com/office/drawing/2014/main" id="{CB11B6E2-D967-B04C-8A33-92F3ECE14FD5}"/>
                  </a:ext>
                </a:extLst>
              </p:cNvPr>
              <p:cNvSpPr/>
              <p:nvPr/>
            </p:nvSpPr>
            <p:spPr>
              <a:xfrm>
                <a:off x="-2004963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Прямоугольник: скругленные углы 74">
                <a:extLst>
                  <a:ext uri="{FF2B5EF4-FFF2-40B4-BE49-F238E27FC236}">
                    <a16:creationId xmlns:a16="http://schemas.microsoft.com/office/drawing/2014/main" id="{BCB11055-11DA-3247-9ACA-197DD2E71500}"/>
                  </a:ext>
                </a:extLst>
              </p:cNvPr>
              <p:cNvSpPr/>
              <p:nvPr/>
            </p:nvSpPr>
            <p:spPr>
              <a:xfrm>
                <a:off x="-1475201" y="4131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5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47F8CA85-9D43-394C-9685-2939CB8BA4C0}"/>
                  </a:ext>
                </a:extLst>
              </p:cNvPr>
              <p:cNvSpPr txBox="1"/>
              <p:nvPr/>
            </p:nvSpPr>
            <p:spPr>
              <a:xfrm>
                <a:off x="-2003446" y="4451492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1000"/>
                  <a:t>Цвета маленьких плашек</a:t>
                </a:r>
              </a:p>
            </p:txBody>
          </p:sp>
          <p:sp>
            <p:nvSpPr>
              <p:cNvPr id="114" name="Прямоугольник: скругленные углы 82">
                <a:extLst>
                  <a:ext uri="{FF2B5EF4-FFF2-40B4-BE49-F238E27FC236}">
                    <a16:creationId xmlns:a16="http://schemas.microsoft.com/office/drawing/2014/main" id="{717F8812-6875-1D45-994E-BB339312194C}"/>
                  </a:ext>
                </a:extLst>
              </p:cNvPr>
              <p:cNvSpPr/>
              <p:nvPr userDrawn="1"/>
            </p:nvSpPr>
            <p:spPr>
              <a:xfrm>
                <a:off x="-1739900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B7EDC9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5" name="Прямоугольник: скругленные углы 83">
                <a:extLst>
                  <a:ext uri="{FF2B5EF4-FFF2-40B4-BE49-F238E27FC236}">
                    <a16:creationId xmlns:a16="http://schemas.microsoft.com/office/drawing/2014/main" id="{E0AECB4F-8351-794D-93C5-0FC56AFD1D44}"/>
                  </a:ext>
                </a:extLst>
              </p:cNvPr>
              <p:cNvSpPr/>
              <p:nvPr/>
            </p:nvSpPr>
            <p:spPr>
              <a:xfrm>
                <a:off x="-1474837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A800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6" name="Прямоугольник: скругленные углы 84">
                <a:extLst>
                  <a:ext uri="{FF2B5EF4-FFF2-40B4-BE49-F238E27FC236}">
                    <a16:creationId xmlns:a16="http://schemas.microsoft.com/office/drawing/2014/main" id="{84F07328-B7E0-5447-A55B-C1A2D8DB7C2A}"/>
                  </a:ext>
                </a:extLst>
              </p:cNvPr>
              <p:cNvSpPr/>
              <p:nvPr/>
            </p:nvSpPr>
            <p:spPr>
              <a:xfrm>
                <a:off x="-2004963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10C44C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20D6D75E-101A-6A4F-9178-9EFE8CC6D9A5}"/>
                  </a:ext>
                </a:extLst>
              </p:cNvPr>
              <p:cNvSpPr txBox="1"/>
              <p:nvPr/>
            </p:nvSpPr>
            <p:spPr>
              <a:xfrm>
                <a:off x="-2003446" y="4973480"/>
                <a:ext cx="1638525" cy="171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l"/>
                <a:r>
                  <a:rPr lang="ru-RU" sz="900"/>
                  <a:t>Рост / падение показателей</a:t>
                </a:r>
              </a:p>
            </p:txBody>
          </p:sp>
          <p:sp>
            <p:nvSpPr>
              <p:cNvPr id="118" name="Прямоугольник: скругленные углы 13">
                <a:extLst>
                  <a:ext uri="{FF2B5EF4-FFF2-40B4-BE49-F238E27FC236}">
                    <a16:creationId xmlns:a16="http://schemas.microsoft.com/office/drawing/2014/main" id="{2C35EE01-2C3A-4C4A-90FA-C23A0EB4423A}"/>
                  </a:ext>
                </a:extLst>
              </p:cNvPr>
              <p:cNvSpPr/>
              <p:nvPr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9" name="Прямоугольник: скругленные углы 14">
                <a:extLst>
                  <a:ext uri="{FF2B5EF4-FFF2-40B4-BE49-F238E27FC236}">
                    <a16:creationId xmlns:a16="http://schemas.microsoft.com/office/drawing/2014/main" id="{F23846F3-3718-534D-AF86-698E5EC4412D}"/>
                  </a:ext>
                </a:extLst>
              </p:cNvPr>
              <p:cNvSpPr/>
              <p:nvPr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0" name="Прямоугольник: скругленные углы 15">
                <a:extLst>
                  <a:ext uri="{FF2B5EF4-FFF2-40B4-BE49-F238E27FC236}">
                    <a16:creationId xmlns:a16="http://schemas.microsoft.com/office/drawing/2014/main" id="{3A97CAF1-689C-BF48-871E-BBB713209171}"/>
                  </a:ext>
                </a:extLst>
              </p:cNvPr>
              <p:cNvSpPr/>
              <p:nvPr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1" name="Прямоугольник: скругленные углы 20">
                <a:extLst>
                  <a:ext uri="{FF2B5EF4-FFF2-40B4-BE49-F238E27FC236}">
                    <a16:creationId xmlns:a16="http://schemas.microsoft.com/office/drawing/2014/main" id="{4B95C69C-1592-E444-B3B7-F89C4AB80847}"/>
                  </a:ext>
                </a:extLst>
              </p:cNvPr>
              <p:cNvSpPr/>
              <p:nvPr userDrawn="1"/>
            </p:nvSpPr>
            <p:spPr>
              <a:xfrm>
                <a:off x="-944711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53C14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2" name="Прямоугольник: скругленные углы 21">
                <a:extLst>
                  <a:ext uri="{FF2B5EF4-FFF2-40B4-BE49-F238E27FC236}">
                    <a16:creationId xmlns:a16="http://schemas.microsoft.com/office/drawing/2014/main" id="{4194A635-0E0B-C34A-A687-6A089157AD69}"/>
                  </a:ext>
                </a:extLst>
              </p:cNvPr>
              <p:cNvSpPr/>
              <p:nvPr userDrawn="1"/>
            </p:nvSpPr>
            <p:spPr>
              <a:xfrm>
                <a:off x="-679648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CC4B8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3" name="Прямоугольник: скругленные углы 22">
                <a:extLst>
                  <a:ext uri="{FF2B5EF4-FFF2-40B4-BE49-F238E27FC236}">
                    <a16:creationId xmlns:a16="http://schemas.microsoft.com/office/drawing/2014/main" id="{FAA25E15-7636-6B4F-981E-0AA4C3F0B291}"/>
                  </a:ext>
                </a:extLst>
              </p:cNvPr>
              <p:cNvSpPr/>
              <p:nvPr userDrawn="1"/>
            </p:nvSpPr>
            <p:spPr>
              <a:xfrm>
                <a:off x="-1209774" y="5160199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rgbClr val="FFE5B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4" name="Прямоугольник: скругленные углы 79">
                <a:extLst>
                  <a:ext uri="{FF2B5EF4-FFF2-40B4-BE49-F238E27FC236}">
                    <a16:creationId xmlns:a16="http://schemas.microsoft.com/office/drawing/2014/main" id="{204BEF15-BA73-EA44-B155-CCBAB0CCEAA0}"/>
                  </a:ext>
                </a:extLst>
              </p:cNvPr>
              <p:cNvSpPr/>
              <p:nvPr userDrawn="1"/>
            </p:nvSpPr>
            <p:spPr>
              <a:xfrm>
                <a:off x="-1735356" y="4136975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5" name="Прямоугольник: скругленные углы 63">
                <a:extLst>
                  <a:ext uri="{FF2B5EF4-FFF2-40B4-BE49-F238E27FC236}">
                    <a16:creationId xmlns:a16="http://schemas.microsoft.com/office/drawing/2014/main" id="{87F68CB0-297D-CC43-BA1A-5FBBF3A6CE17}"/>
                  </a:ext>
                </a:extLst>
              </p:cNvPr>
              <p:cNvSpPr/>
              <p:nvPr userDrawn="1"/>
            </p:nvSpPr>
            <p:spPr>
              <a:xfrm>
                <a:off x="-1476289" y="4646897"/>
                <a:ext cx="216624" cy="216624"/>
              </a:xfrm>
              <a:prstGeom prst="roundRect">
                <a:avLst>
                  <a:gd name="adj" fmla="val 33317"/>
                </a:avLst>
              </a:prstGeom>
              <a:solidFill>
                <a:schemeClr val="accent2"/>
              </a:solidFill>
              <a:ln w="3175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755316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A8EF553D-F84B-BFE0-8F93-264A1FB7A89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549398" y="883609"/>
            <a:ext cx="2131200" cy="473348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4" name="Полилиния 3">
              <a:extLst>
                <a:ext uri="{FF2B5EF4-FFF2-40B4-BE49-F238E27FC236}">
                  <a16:creationId xmlns:a16="http://schemas.microsoft.com/office/drawing/2014/main" id="{77DEBC73-46CD-E988-59D6-8D2A021E3B62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solidFill>
              <a:schemeClr val="accent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5F2CB4D3-4EA4-E3E4-B282-B3F6E8A14CB6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solidFill>
              <a:schemeClr val="tx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4115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5194112"/>
            <a:ext cx="3867020" cy="590868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Имя и фамилия спикера, контакты </a:t>
            </a:r>
            <a:br>
              <a:rPr lang="ru-RU"/>
            </a:br>
            <a:r>
              <a:rPr lang="ru-RU"/>
              <a:t>или другая информация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458CA0F-AA7A-3470-321F-E571C81EB4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55808" y="1931435"/>
            <a:ext cx="6340418" cy="2123348"/>
          </a:xfrm>
        </p:spPr>
        <p:txBody>
          <a:bodyPr vert="horz" anchor="b">
            <a:noAutofit/>
          </a:bodyPr>
          <a:lstStyle>
            <a:lvl1pPr algn="l">
              <a:lnSpc>
                <a:spcPct val="87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ru-RU"/>
              <a:t>Напиши призыв </a:t>
            </a:r>
            <a:br>
              <a:rPr lang="ru-RU"/>
            </a:br>
            <a:r>
              <a:rPr lang="ru-RU"/>
              <a:t>к действию</a:t>
            </a:r>
            <a:r>
              <a:rPr lang="en-US"/>
              <a:t> </a:t>
            </a:r>
            <a:r>
              <a:rPr lang="ru-RU"/>
              <a:t>в 2–3 строки</a:t>
            </a:r>
          </a:p>
        </p:txBody>
      </p:sp>
    </p:spTree>
    <p:extLst>
      <p:ext uri="{BB962C8B-B14F-4D97-AF65-F5344CB8AC3E}">
        <p14:creationId xmlns:p14="http://schemas.microsoft.com/office/powerpoint/2010/main" val="3017412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orient="horz" pos="268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84B61062-8E90-9247-91F2-031D1050D2A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549398" y="883609"/>
            <a:ext cx="2131200" cy="473348"/>
            <a:chOff x="8489504" y="910877"/>
            <a:chExt cx="2734509" cy="606592"/>
          </a:xfrm>
          <a:solidFill>
            <a:schemeClr val="bg1"/>
          </a:solidFill>
        </p:grpSpPr>
        <p:sp>
          <p:nvSpPr>
            <p:cNvPr id="21" name="Полилиния 20">
              <a:extLst>
                <a:ext uri="{FF2B5EF4-FFF2-40B4-BE49-F238E27FC236}">
                  <a16:creationId xmlns:a16="http://schemas.microsoft.com/office/drawing/2014/main" id="{DE90434C-391E-2C92-EAF0-C15DC9E51826}"/>
                </a:ext>
              </a:extLst>
            </p:cNvPr>
            <p:cNvSpPr/>
            <p:nvPr/>
          </p:nvSpPr>
          <p:spPr>
            <a:xfrm>
              <a:off x="10064626" y="910877"/>
              <a:ext cx="1159387" cy="606592"/>
            </a:xfrm>
            <a:custGeom>
              <a:avLst/>
              <a:gdLst>
                <a:gd name="connsiteX0" fmla="*/ 0 w 1159387"/>
                <a:gd name="connsiteY0" fmla="*/ 178242 h 606592"/>
                <a:gd name="connsiteX1" fmla="*/ 0 w 1159387"/>
                <a:gd name="connsiteY1" fmla="*/ 237024 h 606592"/>
                <a:gd name="connsiteX2" fmla="*/ 9135 w 1159387"/>
                <a:gd name="connsiteY2" fmla="*/ 246098 h 606592"/>
                <a:gd name="connsiteX3" fmla="*/ 30214 w 1159387"/>
                <a:gd name="connsiteY3" fmla="*/ 250009 h 606592"/>
                <a:gd name="connsiteX4" fmla="*/ 32261 w 1159387"/>
                <a:gd name="connsiteY4" fmla="*/ 250607 h 606592"/>
                <a:gd name="connsiteX5" fmla="*/ 85030 w 1159387"/>
                <a:gd name="connsiteY5" fmla="*/ 319338 h 606592"/>
                <a:gd name="connsiteX6" fmla="*/ 85030 w 1159387"/>
                <a:gd name="connsiteY6" fmla="*/ 483817 h 606592"/>
                <a:gd name="connsiteX7" fmla="*/ 120863 w 1159387"/>
                <a:gd name="connsiteY7" fmla="*/ 570989 h 606592"/>
                <a:gd name="connsiteX8" fmla="*/ 205874 w 1159387"/>
                <a:gd name="connsiteY8" fmla="*/ 606364 h 606592"/>
                <a:gd name="connsiteX9" fmla="*/ 207284 w 1159387"/>
                <a:gd name="connsiteY9" fmla="*/ 606364 h 606592"/>
                <a:gd name="connsiteX10" fmla="*/ 235964 w 1159387"/>
                <a:gd name="connsiteY10" fmla="*/ 606364 h 606592"/>
                <a:gd name="connsiteX11" fmla="*/ 247356 w 1159387"/>
                <a:gd name="connsiteY11" fmla="*/ 593268 h 606592"/>
                <a:gd name="connsiteX12" fmla="*/ 247337 w 1159387"/>
                <a:gd name="connsiteY12" fmla="*/ 563750 h 606592"/>
                <a:gd name="connsiteX13" fmla="*/ 247337 w 1159387"/>
                <a:gd name="connsiteY13" fmla="*/ 541928 h 606592"/>
                <a:gd name="connsiteX14" fmla="*/ 236802 w 1159387"/>
                <a:gd name="connsiteY14" fmla="*/ 530565 h 606592"/>
                <a:gd name="connsiteX15" fmla="*/ 197454 w 1159387"/>
                <a:gd name="connsiteY15" fmla="*/ 530527 h 606592"/>
                <a:gd name="connsiteX16" fmla="*/ 159506 w 1159387"/>
                <a:gd name="connsiteY16" fmla="*/ 492285 h 606592"/>
                <a:gd name="connsiteX17" fmla="*/ 159506 w 1159387"/>
                <a:gd name="connsiteY17" fmla="*/ 403084 h 606592"/>
                <a:gd name="connsiteX18" fmla="*/ 159506 w 1159387"/>
                <a:gd name="connsiteY18" fmla="*/ 316772 h 606592"/>
                <a:gd name="connsiteX19" fmla="*/ 100365 w 1159387"/>
                <a:gd name="connsiteY19" fmla="*/ 207274 h 606592"/>
                <a:gd name="connsiteX20" fmla="*/ 99080 w 1159387"/>
                <a:gd name="connsiteY20" fmla="*/ 206423 h 606592"/>
                <a:gd name="connsiteX21" fmla="*/ 100356 w 1159387"/>
                <a:gd name="connsiteY21" fmla="*/ 205547 h 606592"/>
                <a:gd name="connsiteX22" fmla="*/ 159506 w 1159387"/>
                <a:gd name="connsiteY22" fmla="*/ 90665 h 606592"/>
                <a:gd name="connsiteX23" fmla="*/ 159506 w 1159387"/>
                <a:gd name="connsiteY23" fmla="*/ 10992 h 606592"/>
                <a:gd name="connsiteX24" fmla="*/ 148962 w 1159387"/>
                <a:gd name="connsiteY24" fmla="*/ 0 h 606592"/>
                <a:gd name="connsiteX25" fmla="*/ 95565 w 1159387"/>
                <a:gd name="connsiteY25" fmla="*/ 0 h 606592"/>
                <a:gd name="connsiteX26" fmla="*/ 85030 w 1159387"/>
                <a:gd name="connsiteY26" fmla="*/ 10992 h 606592"/>
                <a:gd name="connsiteX27" fmla="*/ 85030 w 1159387"/>
                <a:gd name="connsiteY27" fmla="*/ 90665 h 606592"/>
                <a:gd name="connsiteX28" fmla="*/ 32366 w 1159387"/>
                <a:gd name="connsiteY28" fmla="*/ 162761 h 606592"/>
                <a:gd name="connsiteX29" fmla="*/ 30214 w 1159387"/>
                <a:gd name="connsiteY29" fmla="*/ 163402 h 606592"/>
                <a:gd name="connsiteX30" fmla="*/ 9135 w 1159387"/>
                <a:gd name="connsiteY30" fmla="*/ 167302 h 606592"/>
                <a:gd name="connsiteX31" fmla="*/ 0 w 1159387"/>
                <a:gd name="connsiteY31" fmla="*/ 178242 h 606592"/>
                <a:gd name="connsiteX32" fmla="*/ 933768 w 1159387"/>
                <a:gd name="connsiteY32" fmla="*/ 313343 h 606592"/>
                <a:gd name="connsiteX33" fmla="*/ 933768 w 1159387"/>
                <a:gd name="connsiteY33" fmla="*/ 468558 h 606592"/>
                <a:gd name="connsiteX34" fmla="*/ 930749 w 1159387"/>
                <a:gd name="connsiteY34" fmla="*/ 475902 h 606592"/>
                <a:gd name="connsiteX35" fmla="*/ 923472 w 1159387"/>
                <a:gd name="connsiteY35" fmla="*/ 478940 h 606592"/>
                <a:gd name="connsiteX36" fmla="*/ 869627 w 1159387"/>
                <a:gd name="connsiteY36" fmla="*/ 478902 h 606592"/>
                <a:gd name="connsiteX37" fmla="*/ 859349 w 1159387"/>
                <a:gd name="connsiteY37" fmla="*/ 468530 h 606592"/>
                <a:gd name="connsiteX38" fmla="*/ 859349 w 1159387"/>
                <a:gd name="connsiteY38" fmla="*/ 10375 h 606592"/>
                <a:gd name="connsiteX39" fmla="*/ 869636 w 1159387"/>
                <a:gd name="connsiteY39" fmla="*/ 0 h 606592"/>
                <a:gd name="connsiteX40" fmla="*/ 923472 w 1159387"/>
                <a:gd name="connsiteY40" fmla="*/ 0 h 606592"/>
                <a:gd name="connsiteX41" fmla="*/ 933768 w 1159387"/>
                <a:gd name="connsiteY41" fmla="*/ 10375 h 606592"/>
                <a:gd name="connsiteX42" fmla="*/ 933768 w 1159387"/>
                <a:gd name="connsiteY42" fmla="*/ 193355 h 606592"/>
                <a:gd name="connsiteX43" fmla="*/ 1159388 w 1159387"/>
                <a:gd name="connsiteY43" fmla="*/ 312995 h 606592"/>
                <a:gd name="connsiteX44" fmla="*/ 1159388 w 1159387"/>
                <a:gd name="connsiteY44" fmla="*/ 468520 h 606592"/>
                <a:gd name="connsiteX45" fmla="*/ 1156378 w 1159387"/>
                <a:gd name="connsiteY45" fmla="*/ 475854 h 606592"/>
                <a:gd name="connsiteX46" fmla="*/ 1149101 w 1159387"/>
                <a:gd name="connsiteY46" fmla="*/ 478893 h 606592"/>
                <a:gd name="connsiteX47" fmla="*/ 1095199 w 1159387"/>
                <a:gd name="connsiteY47" fmla="*/ 478893 h 606592"/>
                <a:gd name="connsiteX48" fmla="*/ 1087922 w 1159387"/>
                <a:gd name="connsiteY48" fmla="*/ 475854 h 606592"/>
                <a:gd name="connsiteX49" fmla="*/ 1084912 w 1159387"/>
                <a:gd name="connsiteY49" fmla="*/ 468520 h 606592"/>
                <a:gd name="connsiteX50" fmla="*/ 1084912 w 1159387"/>
                <a:gd name="connsiteY50" fmla="*/ 312995 h 606592"/>
                <a:gd name="connsiteX51" fmla="*/ 966868 w 1159387"/>
                <a:gd name="connsiteY51" fmla="*/ 246504 h 606592"/>
                <a:gd name="connsiteX52" fmla="*/ 933768 w 1159387"/>
                <a:gd name="connsiteY52" fmla="*/ 313343 h 606592"/>
                <a:gd name="connsiteX53" fmla="*/ 596563 w 1159387"/>
                <a:gd name="connsiteY53" fmla="*/ 207040 h 606592"/>
                <a:gd name="connsiteX54" fmla="*/ 549471 w 1159387"/>
                <a:gd name="connsiteY54" fmla="*/ 323084 h 606592"/>
                <a:gd name="connsiteX55" fmla="*/ 596563 w 1159387"/>
                <a:gd name="connsiteY55" fmla="*/ 439145 h 606592"/>
                <a:gd name="connsiteX56" fmla="*/ 797522 w 1159387"/>
                <a:gd name="connsiteY56" fmla="*/ 460995 h 606592"/>
                <a:gd name="connsiteX57" fmla="*/ 799923 w 1159387"/>
                <a:gd name="connsiteY57" fmla="*/ 459357 h 606592"/>
                <a:gd name="connsiteX58" fmla="*/ 805247 w 1159387"/>
                <a:gd name="connsiteY58" fmla="*/ 455385 h 606592"/>
                <a:gd name="connsiteX59" fmla="*/ 806018 w 1159387"/>
                <a:gd name="connsiteY59" fmla="*/ 438745 h 606592"/>
                <a:gd name="connsiteX60" fmla="*/ 790226 w 1159387"/>
                <a:gd name="connsiteY60" fmla="*/ 417067 h 606592"/>
                <a:gd name="connsiteX61" fmla="*/ 776110 w 1159387"/>
                <a:gd name="connsiteY61" fmla="*/ 397747 h 606592"/>
                <a:gd name="connsiteX62" fmla="*/ 760975 w 1159387"/>
                <a:gd name="connsiteY62" fmla="*/ 394585 h 606592"/>
                <a:gd name="connsiteX63" fmla="*/ 757003 w 1159387"/>
                <a:gd name="connsiteY63" fmla="*/ 397067 h 606592"/>
                <a:gd name="connsiteX64" fmla="*/ 619737 w 1159387"/>
                <a:gd name="connsiteY64" fmla="*/ 323084 h 606592"/>
                <a:gd name="connsiteX65" fmla="*/ 756945 w 1159387"/>
                <a:gd name="connsiteY65" fmla="*/ 249203 h 606592"/>
                <a:gd name="connsiteX66" fmla="*/ 760975 w 1159387"/>
                <a:gd name="connsiteY66" fmla="*/ 251591 h 606592"/>
                <a:gd name="connsiteX67" fmla="*/ 776148 w 1159387"/>
                <a:gd name="connsiteY67" fmla="*/ 248416 h 606592"/>
                <a:gd name="connsiteX68" fmla="*/ 790207 w 1159387"/>
                <a:gd name="connsiteY68" fmla="*/ 229138 h 606592"/>
                <a:gd name="connsiteX69" fmla="*/ 804618 w 1159387"/>
                <a:gd name="connsiteY69" fmla="*/ 209395 h 606592"/>
                <a:gd name="connsiteX70" fmla="*/ 799903 w 1159387"/>
                <a:gd name="connsiteY70" fmla="*/ 186809 h 606592"/>
                <a:gd name="connsiteX71" fmla="*/ 797522 w 1159387"/>
                <a:gd name="connsiteY71" fmla="*/ 185195 h 606592"/>
                <a:gd name="connsiteX72" fmla="*/ 596563 w 1159387"/>
                <a:gd name="connsiteY72" fmla="*/ 207040 h 606592"/>
                <a:gd name="connsiteX73" fmla="*/ 293714 w 1159387"/>
                <a:gd name="connsiteY73" fmla="*/ 350313 h 606592"/>
                <a:gd name="connsiteX74" fmla="*/ 469385 w 1159387"/>
                <a:gd name="connsiteY74" fmla="*/ 350313 h 606592"/>
                <a:gd name="connsiteX75" fmla="*/ 507323 w 1159387"/>
                <a:gd name="connsiteY75" fmla="*/ 312290 h 606592"/>
                <a:gd name="connsiteX76" fmla="*/ 472890 w 1159387"/>
                <a:gd name="connsiteY76" fmla="*/ 208836 h 606592"/>
                <a:gd name="connsiteX77" fmla="*/ 368190 w 1159387"/>
                <a:gd name="connsiteY77" fmla="*/ 159530 h 606592"/>
                <a:gd name="connsiteX78" fmla="*/ 219228 w 1159387"/>
                <a:gd name="connsiteY78" fmla="*/ 323103 h 606592"/>
                <a:gd name="connsiteX79" fmla="*/ 375915 w 1159387"/>
                <a:gd name="connsiteY79" fmla="*/ 486674 h 606592"/>
                <a:gd name="connsiteX80" fmla="*/ 502398 w 1159387"/>
                <a:gd name="connsiteY80" fmla="*/ 450623 h 606592"/>
                <a:gd name="connsiteX81" fmla="*/ 505913 w 1159387"/>
                <a:gd name="connsiteY81" fmla="*/ 435907 h 606592"/>
                <a:gd name="connsiteX82" fmla="*/ 504818 w 1159387"/>
                <a:gd name="connsiteY82" fmla="*/ 434088 h 606592"/>
                <a:gd name="connsiteX83" fmla="*/ 478519 w 1159387"/>
                <a:gd name="connsiteY83" fmla="*/ 391689 h 606592"/>
                <a:gd name="connsiteX84" fmla="*/ 464460 w 1159387"/>
                <a:gd name="connsiteY84" fmla="*/ 388476 h 606592"/>
                <a:gd name="connsiteX85" fmla="*/ 377335 w 1159387"/>
                <a:gd name="connsiteY85" fmla="*/ 414990 h 606592"/>
                <a:gd name="connsiteX86" fmla="*/ 293714 w 1159387"/>
                <a:gd name="connsiteY86" fmla="*/ 350313 h 606592"/>
                <a:gd name="connsiteX87" fmla="*/ 430732 w 1159387"/>
                <a:gd name="connsiteY87" fmla="*/ 287912 h 606592"/>
                <a:gd name="connsiteX88" fmla="*/ 368190 w 1159387"/>
                <a:gd name="connsiteY88" fmla="*/ 232071 h 606592"/>
                <a:gd name="connsiteX89" fmla="*/ 296524 w 1159387"/>
                <a:gd name="connsiteY89" fmla="*/ 287912 h 606592"/>
                <a:gd name="connsiteX90" fmla="*/ 430732 w 1159387"/>
                <a:gd name="connsiteY90" fmla="*/ 287912 h 60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59387" h="606592">
                  <a:moveTo>
                    <a:pt x="0" y="178242"/>
                  </a:moveTo>
                  <a:lnTo>
                    <a:pt x="0" y="237024"/>
                  </a:lnTo>
                  <a:cubicBezTo>
                    <a:pt x="695" y="241577"/>
                    <a:pt x="4220" y="245266"/>
                    <a:pt x="9135" y="246098"/>
                  </a:cubicBezTo>
                  <a:cubicBezTo>
                    <a:pt x="16869" y="247387"/>
                    <a:pt x="27404" y="249197"/>
                    <a:pt x="30214" y="250009"/>
                  </a:cubicBezTo>
                  <a:cubicBezTo>
                    <a:pt x="30833" y="250193"/>
                    <a:pt x="31518" y="250390"/>
                    <a:pt x="32261" y="250607"/>
                  </a:cubicBezTo>
                  <a:cubicBezTo>
                    <a:pt x="46749" y="254784"/>
                    <a:pt x="83697" y="265433"/>
                    <a:pt x="85030" y="319338"/>
                  </a:cubicBezTo>
                  <a:lnTo>
                    <a:pt x="85030" y="483817"/>
                  </a:lnTo>
                  <a:cubicBezTo>
                    <a:pt x="85030" y="516573"/>
                    <a:pt x="97670" y="547958"/>
                    <a:pt x="120863" y="570989"/>
                  </a:cubicBezTo>
                  <a:cubicBezTo>
                    <a:pt x="143342" y="593696"/>
                    <a:pt x="174261" y="606402"/>
                    <a:pt x="205874" y="606364"/>
                  </a:cubicBezTo>
                  <a:lnTo>
                    <a:pt x="207284" y="606364"/>
                  </a:lnTo>
                  <a:cubicBezTo>
                    <a:pt x="207284" y="606364"/>
                    <a:pt x="207284" y="606879"/>
                    <a:pt x="235964" y="606364"/>
                  </a:cubicBezTo>
                  <a:cubicBezTo>
                    <a:pt x="243232" y="606231"/>
                    <a:pt x="247461" y="601383"/>
                    <a:pt x="247356" y="593268"/>
                  </a:cubicBezTo>
                  <a:cubicBezTo>
                    <a:pt x="247222" y="582028"/>
                    <a:pt x="247527" y="573246"/>
                    <a:pt x="247337" y="563750"/>
                  </a:cubicBezTo>
                  <a:cubicBezTo>
                    <a:pt x="247184" y="555816"/>
                    <a:pt x="247337" y="548520"/>
                    <a:pt x="247337" y="541928"/>
                  </a:cubicBezTo>
                  <a:cubicBezTo>
                    <a:pt x="247337" y="535804"/>
                    <a:pt x="242422" y="530794"/>
                    <a:pt x="236802" y="530565"/>
                  </a:cubicBezTo>
                  <a:cubicBezTo>
                    <a:pt x="226258" y="530527"/>
                    <a:pt x="211504" y="530527"/>
                    <a:pt x="197454" y="530527"/>
                  </a:cubicBezTo>
                  <a:cubicBezTo>
                    <a:pt x="177071" y="530527"/>
                    <a:pt x="159506" y="513401"/>
                    <a:pt x="159506" y="492285"/>
                  </a:cubicBezTo>
                  <a:lnTo>
                    <a:pt x="159506" y="403084"/>
                  </a:lnTo>
                  <a:cubicBezTo>
                    <a:pt x="160202" y="402874"/>
                    <a:pt x="159506" y="317750"/>
                    <a:pt x="159506" y="316772"/>
                  </a:cubicBezTo>
                  <a:cubicBezTo>
                    <a:pt x="157544" y="243958"/>
                    <a:pt x="109233" y="212964"/>
                    <a:pt x="100365" y="207274"/>
                  </a:cubicBezTo>
                  <a:cubicBezTo>
                    <a:pt x="99708" y="206855"/>
                    <a:pt x="99270" y="206569"/>
                    <a:pt x="99080" y="206423"/>
                  </a:cubicBezTo>
                  <a:cubicBezTo>
                    <a:pt x="99270" y="206264"/>
                    <a:pt x="99708" y="205979"/>
                    <a:pt x="100356" y="205547"/>
                  </a:cubicBezTo>
                  <a:cubicBezTo>
                    <a:pt x="109395" y="199604"/>
                    <a:pt x="159506" y="166622"/>
                    <a:pt x="159506" y="90665"/>
                  </a:cubicBezTo>
                  <a:lnTo>
                    <a:pt x="159506" y="10992"/>
                  </a:lnTo>
                  <a:cubicBezTo>
                    <a:pt x="159506" y="4922"/>
                    <a:pt x="155287" y="0"/>
                    <a:pt x="148962" y="0"/>
                  </a:cubicBezTo>
                  <a:lnTo>
                    <a:pt x="95565" y="0"/>
                  </a:lnTo>
                  <a:cubicBezTo>
                    <a:pt x="89945" y="0"/>
                    <a:pt x="85030" y="4922"/>
                    <a:pt x="85030" y="10992"/>
                  </a:cubicBezTo>
                  <a:lnTo>
                    <a:pt x="85030" y="90665"/>
                  </a:lnTo>
                  <a:cubicBezTo>
                    <a:pt x="85030" y="147350"/>
                    <a:pt x="47054" y="158469"/>
                    <a:pt x="32366" y="162761"/>
                  </a:cubicBezTo>
                  <a:cubicBezTo>
                    <a:pt x="31576" y="162997"/>
                    <a:pt x="30861" y="163206"/>
                    <a:pt x="30214" y="163402"/>
                  </a:cubicBezTo>
                  <a:cubicBezTo>
                    <a:pt x="27404" y="164209"/>
                    <a:pt x="16869" y="166026"/>
                    <a:pt x="9135" y="167302"/>
                  </a:cubicBezTo>
                  <a:cubicBezTo>
                    <a:pt x="3515" y="168248"/>
                    <a:pt x="0" y="172858"/>
                    <a:pt x="0" y="178242"/>
                  </a:cubicBezTo>
                  <a:close/>
                  <a:moveTo>
                    <a:pt x="933768" y="313343"/>
                  </a:moveTo>
                  <a:lnTo>
                    <a:pt x="933768" y="468558"/>
                  </a:lnTo>
                  <a:cubicBezTo>
                    <a:pt x="933768" y="471320"/>
                    <a:pt x="932682" y="473949"/>
                    <a:pt x="930749" y="475902"/>
                  </a:cubicBezTo>
                  <a:cubicBezTo>
                    <a:pt x="928825" y="477845"/>
                    <a:pt x="926206" y="478940"/>
                    <a:pt x="923472" y="478940"/>
                  </a:cubicBezTo>
                  <a:cubicBezTo>
                    <a:pt x="909270" y="478921"/>
                    <a:pt x="883819" y="478912"/>
                    <a:pt x="869627" y="478902"/>
                  </a:cubicBezTo>
                  <a:cubicBezTo>
                    <a:pt x="863950" y="478893"/>
                    <a:pt x="859349" y="474254"/>
                    <a:pt x="859349" y="468530"/>
                  </a:cubicBezTo>
                  <a:cubicBezTo>
                    <a:pt x="859349" y="405427"/>
                    <a:pt x="859349" y="73513"/>
                    <a:pt x="859349" y="10375"/>
                  </a:cubicBezTo>
                  <a:cubicBezTo>
                    <a:pt x="859349" y="4648"/>
                    <a:pt x="863959" y="0"/>
                    <a:pt x="869636" y="0"/>
                  </a:cubicBezTo>
                  <a:cubicBezTo>
                    <a:pt x="883838" y="0"/>
                    <a:pt x="909279" y="0"/>
                    <a:pt x="923472" y="0"/>
                  </a:cubicBezTo>
                  <a:cubicBezTo>
                    <a:pt x="929158" y="0"/>
                    <a:pt x="933768" y="4648"/>
                    <a:pt x="933768" y="10375"/>
                  </a:cubicBezTo>
                  <a:cubicBezTo>
                    <a:pt x="933768" y="50513"/>
                    <a:pt x="933768" y="193355"/>
                    <a:pt x="933768" y="193355"/>
                  </a:cubicBezTo>
                  <a:cubicBezTo>
                    <a:pt x="1013169" y="118433"/>
                    <a:pt x="1159388" y="172318"/>
                    <a:pt x="1159388" y="312995"/>
                  </a:cubicBezTo>
                  <a:lnTo>
                    <a:pt x="1159388" y="468520"/>
                  </a:lnTo>
                  <a:cubicBezTo>
                    <a:pt x="1159388" y="471273"/>
                    <a:pt x="1158302" y="473911"/>
                    <a:pt x="1156378" y="475854"/>
                  </a:cubicBezTo>
                  <a:cubicBezTo>
                    <a:pt x="1154445" y="477797"/>
                    <a:pt x="1151835" y="478893"/>
                    <a:pt x="1149101" y="478893"/>
                  </a:cubicBezTo>
                  <a:cubicBezTo>
                    <a:pt x="1134899" y="478893"/>
                    <a:pt x="1109401" y="478893"/>
                    <a:pt x="1095199" y="478893"/>
                  </a:cubicBezTo>
                  <a:cubicBezTo>
                    <a:pt x="1092465" y="478893"/>
                    <a:pt x="1089855" y="477797"/>
                    <a:pt x="1087922" y="475854"/>
                  </a:cubicBezTo>
                  <a:cubicBezTo>
                    <a:pt x="1085998" y="473911"/>
                    <a:pt x="1084912" y="471273"/>
                    <a:pt x="1084912" y="468520"/>
                  </a:cubicBezTo>
                  <a:cubicBezTo>
                    <a:pt x="1084912" y="432211"/>
                    <a:pt x="1084912" y="312995"/>
                    <a:pt x="1084912" y="312995"/>
                  </a:cubicBezTo>
                  <a:cubicBezTo>
                    <a:pt x="1084912" y="239513"/>
                    <a:pt x="1011121" y="217047"/>
                    <a:pt x="966868" y="246504"/>
                  </a:cubicBezTo>
                  <a:cubicBezTo>
                    <a:pt x="947885" y="259141"/>
                    <a:pt x="933768" y="281804"/>
                    <a:pt x="933768" y="313343"/>
                  </a:cubicBezTo>
                  <a:close/>
                  <a:moveTo>
                    <a:pt x="596563" y="207040"/>
                  </a:moveTo>
                  <a:cubicBezTo>
                    <a:pt x="564235" y="238922"/>
                    <a:pt x="549471" y="280953"/>
                    <a:pt x="549471" y="323084"/>
                  </a:cubicBezTo>
                  <a:cubicBezTo>
                    <a:pt x="549471" y="365223"/>
                    <a:pt x="564235" y="407246"/>
                    <a:pt x="596563" y="439145"/>
                  </a:cubicBezTo>
                  <a:cubicBezTo>
                    <a:pt x="650665" y="494085"/>
                    <a:pt x="734285" y="501400"/>
                    <a:pt x="797522" y="460995"/>
                  </a:cubicBezTo>
                  <a:cubicBezTo>
                    <a:pt x="798208" y="460481"/>
                    <a:pt x="799037" y="459938"/>
                    <a:pt x="799923" y="459357"/>
                  </a:cubicBezTo>
                  <a:cubicBezTo>
                    <a:pt x="801761" y="458147"/>
                    <a:pt x="803828" y="456795"/>
                    <a:pt x="805247" y="455385"/>
                  </a:cubicBezTo>
                  <a:cubicBezTo>
                    <a:pt x="808762" y="451909"/>
                    <a:pt x="810762" y="445470"/>
                    <a:pt x="806018" y="438745"/>
                  </a:cubicBezTo>
                  <a:cubicBezTo>
                    <a:pt x="801761" y="432697"/>
                    <a:pt x="796170" y="425153"/>
                    <a:pt x="790226" y="417067"/>
                  </a:cubicBezTo>
                  <a:cubicBezTo>
                    <a:pt x="785121" y="410132"/>
                    <a:pt x="780339" y="403665"/>
                    <a:pt x="776110" y="397747"/>
                  </a:cubicBezTo>
                  <a:cubicBezTo>
                    <a:pt x="772671" y="392947"/>
                    <a:pt x="765890" y="391664"/>
                    <a:pt x="760975" y="394585"/>
                  </a:cubicBezTo>
                  <a:cubicBezTo>
                    <a:pt x="759565" y="395461"/>
                    <a:pt x="758393" y="396172"/>
                    <a:pt x="757003" y="397067"/>
                  </a:cubicBezTo>
                  <a:cubicBezTo>
                    <a:pt x="686032" y="442936"/>
                    <a:pt x="619737" y="382374"/>
                    <a:pt x="619737" y="323084"/>
                  </a:cubicBezTo>
                  <a:cubicBezTo>
                    <a:pt x="619737" y="263795"/>
                    <a:pt x="687384" y="203573"/>
                    <a:pt x="756945" y="249203"/>
                  </a:cubicBezTo>
                  <a:cubicBezTo>
                    <a:pt x="758308" y="250105"/>
                    <a:pt x="759565" y="250708"/>
                    <a:pt x="760975" y="251591"/>
                  </a:cubicBezTo>
                  <a:cubicBezTo>
                    <a:pt x="765890" y="254512"/>
                    <a:pt x="772805" y="253115"/>
                    <a:pt x="776148" y="248416"/>
                  </a:cubicBezTo>
                  <a:cubicBezTo>
                    <a:pt x="780377" y="242497"/>
                    <a:pt x="785102" y="236065"/>
                    <a:pt x="790207" y="229138"/>
                  </a:cubicBezTo>
                  <a:cubicBezTo>
                    <a:pt x="795560" y="221854"/>
                    <a:pt x="800580" y="215072"/>
                    <a:pt x="804618" y="209395"/>
                  </a:cubicBezTo>
                  <a:cubicBezTo>
                    <a:pt x="811362" y="199928"/>
                    <a:pt x="809571" y="193191"/>
                    <a:pt x="799903" y="186809"/>
                  </a:cubicBezTo>
                  <a:cubicBezTo>
                    <a:pt x="799027" y="186231"/>
                    <a:pt x="798199" y="185691"/>
                    <a:pt x="797522" y="185195"/>
                  </a:cubicBezTo>
                  <a:cubicBezTo>
                    <a:pt x="734285" y="144778"/>
                    <a:pt x="650665" y="152087"/>
                    <a:pt x="596563" y="207040"/>
                  </a:cubicBezTo>
                  <a:close/>
                  <a:moveTo>
                    <a:pt x="293714" y="350313"/>
                  </a:moveTo>
                  <a:lnTo>
                    <a:pt x="469385" y="350313"/>
                  </a:lnTo>
                  <a:cubicBezTo>
                    <a:pt x="490463" y="350313"/>
                    <a:pt x="507323" y="333283"/>
                    <a:pt x="507323" y="312290"/>
                  </a:cubicBezTo>
                  <a:cubicBezTo>
                    <a:pt x="507323" y="265561"/>
                    <a:pt x="499588" y="240644"/>
                    <a:pt x="472890" y="208836"/>
                  </a:cubicBezTo>
                  <a:cubicBezTo>
                    <a:pt x="445486" y="176865"/>
                    <a:pt x="401919" y="159530"/>
                    <a:pt x="368190" y="159530"/>
                  </a:cubicBezTo>
                  <a:cubicBezTo>
                    <a:pt x="283875" y="159530"/>
                    <a:pt x="219228" y="231722"/>
                    <a:pt x="219228" y="323103"/>
                  </a:cubicBezTo>
                  <a:cubicBezTo>
                    <a:pt x="219228" y="435697"/>
                    <a:pt x="306354" y="486674"/>
                    <a:pt x="375915" y="486674"/>
                  </a:cubicBezTo>
                  <a:cubicBezTo>
                    <a:pt x="425807" y="486674"/>
                    <a:pt x="464460" y="474616"/>
                    <a:pt x="502398" y="450623"/>
                  </a:cubicBezTo>
                  <a:cubicBezTo>
                    <a:pt x="506618" y="447470"/>
                    <a:pt x="508723" y="441003"/>
                    <a:pt x="505913" y="435907"/>
                  </a:cubicBezTo>
                  <a:lnTo>
                    <a:pt x="504818" y="434088"/>
                  </a:lnTo>
                  <a:cubicBezTo>
                    <a:pt x="497150" y="421362"/>
                    <a:pt x="486558" y="403789"/>
                    <a:pt x="478519" y="391689"/>
                  </a:cubicBezTo>
                  <a:cubicBezTo>
                    <a:pt x="475709" y="386901"/>
                    <a:pt x="469385" y="385492"/>
                    <a:pt x="464460" y="388476"/>
                  </a:cubicBezTo>
                  <a:cubicBezTo>
                    <a:pt x="440571" y="402722"/>
                    <a:pt x="415273" y="415266"/>
                    <a:pt x="377335" y="414990"/>
                  </a:cubicBezTo>
                  <a:cubicBezTo>
                    <a:pt x="342197" y="414742"/>
                    <a:pt x="304954" y="392280"/>
                    <a:pt x="293714" y="350313"/>
                  </a:cubicBezTo>
                  <a:close/>
                  <a:moveTo>
                    <a:pt x="430732" y="287912"/>
                  </a:moveTo>
                  <a:cubicBezTo>
                    <a:pt x="424407" y="240694"/>
                    <a:pt x="392079" y="232071"/>
                    <a:pt x="368190" y="232071"/>
                  </a:cubicBezTo>
                  <a:cubicBezTo>
                    <a:pt x="335872" y="232071"/>
                    <a:pt x="308478" y="256182"/>
                    <a:pt x="296524" y="287912"/>
                  </a:cubicBezTo>
                  <a:lnTo>
                    <a:pt x="430732" y="287912"/>
                  </a:lnTo>
                  <a:close/>
                </a:path>
              </a:pathLst>
            </a:custGeom>
            <a:solidFill>
              <a:schemeClr val="accent2"/>
            </a:solidFill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2" name="Полилиния 21">
              <a:extLst>
                <a:ext uri="{FF2B5EF4-FFF2-40B4-BE49-F238E27FC236}">
                  <a16:creationId xmlns:a16="http://schemas.microsoft.com/office/drawing/2014/main" id="{611E2E2C-9B8E-0105-B312-39E7E2BBDF5A}"/>
                </a:ext>
              </a:extLst>
            </p:cNvPr>
            <p:cNvSpPr/>
            <p:nvPr/>
          </p:nvSpPr>
          <p:spPr>
            <a:xfrm>
              <a:off x="8489504" y="1070894"/>
              <a:ext cx="1492273" cy="326563"/>
            </a:xfrm>
            <a:custGeom>
              <a:avLst/>
              <a:gdLst>
                <a:gd name="connsiteX0" fmla="*/ 180273 w 1492273"/>
                <a:gd name="connsiteY0" fmla="*/ 900 h 326563"/>
                <a:gd name="connsiteX1" fmla="*/ 83526 w 1492273"/>
                <a:gd name="connsiteY1" fmla="*/ 20775 h 326563"/>
                <a:gd name="connsiteX2" fmla="*/ 15954 w 1492273"/>
                <a:gd name="connsiteY2" fmla="*/ 92853 h 326563"/>
                <a:gd name="connsiteX3" fmla="*/ 2323 w 1492273"/>
                <a:gd name="connsiteY3" fmla="*/ 190737 h 326563"/>
                <a:gd name="connsiteX4" fmla="*/ 47618 w 1492273"/>
                <a:gd name="connsiteY4" fmla="*/ 278557 h 326563"/>
                <a:gd name="connsiteX5" fmla="*/ 135243 w 1492273"/>
                <a:gd name="connsiteY5" fmla="*/ 324153 h 326563"/>
                <a:gd name="connsiteX6" fmla="*/ 233098 w 1492273"/>
                <a:gd name="connsiteY6" fmla="*/ 310818 h 326563"/>
                <a:gd name="connsiteX7" fmla="*/ 305341 w 1492273"/>
                <a:gd name="connsiteY7" fmla="*/ 243429 h 326563"/>
                <a:gd name="connsiteX8" fmla="*/ 325507 w 1492273"/>
                <a:gd name="connsiteY8" fmla="*/ 146675 h 326563"/>
                <a:gd name="connsiteX9" fmla="*/ 278778 w 1492273"/>
                <a:gd name="connsiteY9" fmla="*/ 47965 h 326563"/>
                <a:gd name="connsiteX10" fmla="*/ 180273 w 1492273"/>
                <a:gd name="connsiteY10" fmla="*/ 900 h 326563"/>
                <a:gd name="connsiteX11" fmla="*/ 174984 w 1492273"/>
                <a:gd name="connsiteY11" fmla="*/ 249697 h 326563"/>
                <a:gd name="connsiteX12" fmla="*/ 122555 w 1492273"/>
                <a:gd name="connsiteY12" fmla="*/ 240277 h 326563"/>
                <a:gd name="connsiteX13" fmla="*/ 85427 w 1492273"/>
                <a:gd name="connsiteY13" fmla="*/ 202047 h 326563"/>
                <a:gd name="connsiteX14" fmla="*/ 77507 w 1492273"/>
                <a:gd name="connsiteY14" fmla="*/ 149329 h 326563"/>
                <a:gd name="connsiteX15" fmla="*/ 101766 w 1492273"/>
                <a:gd name="connsiteY15" fmla="*/ 101883 h 326563"/>
                <a:gd name="connsiteX16" fmla="*/ 149113 w 1492273"/>
                <a:gd name="connsiteY16" fmla="*/ 77461 h 326563"/>
                <a:gd name="connsiteX17" fmla="*/ 201825 w 1492273"/>
                <a:gd name="connsiteY17" fmla="*/ 85220 h 326563"/>
                <a:gd name="connsiteX18" fmla="*/ 240132 w 1492273"/>
                <a:gd name="connsiteY18" fmla="*/ 122247 h 326563"/>
                <a:gd name="connsiteX19" fmla="*/ 249714 w 1492273"/>
                <a:gd name="connsiteY19" fmla="*/ 174684 h 326563"/>
                <a:gd name="connsiteX20" fmla="*/ 225058 w 1492273"/>
                <a:gd name="connsiteY20" fmla="*/ 224868 h 326563"/>
                <a:gd name="connsiteX21" fmla="*/ 174984 w 1492273"/>
                <a:gd name="connsiteY21" fmla="*/ 249697 h 326563"/>
                <a:gd name="connsiteX22" fmla="*/ 412780 w 1492273"/>
                <a:gd name="connsiteY22" fmla="*/ 7358 h 326563"/>
                <a:gd name="connsiteX23" fmla="*/ 396435 w 1492273"/>
                <a:gd name="connsiteY23" fmla="*/ 11091 h 326563"/>
                <a:gd name="connsiteX24" fmla="*/ 383276 w 1492273"/>
                <a:gd name="connsiteY24" fmla="*/ 21498 h 326563"/>
                <a:gd name="connsiteX25" fmla="*/ 375859 w 1492273"/>
                <a:gd name="connsiteY25" fmla="*/ 36548 h 326563"/>
                <a:gd name="connsiteX26" fmla="*/ 375620 w 1492273"/>
                <a:gd name="connsiteY26" fmla="*/ 53325 h 326563"/>
                <a:gd name="connsiteX27" fmla="*/ 414209 w 1492273"/>
                <a:gd name="connsiteY27" fmla="*/ 83537 h 326563"/>
                <a:gd name="connsiteX28" fmla="*/ 520143 w 1492273"/>
                <a:gd name="connsiteY28" fmla="*/ 83537 h 326563"/>
                <a:gd name="connsiteX29" fmla="*/ 355289 w 1492273"/>
                <a:gd name="connsiteY29" fmla="*/ 301846 h 326563"/>
                <a:gd name="connsiteX30" fmla="*/ 353136 w 1492273"/>
                <a:gd name="connsiteY30" fmla="*/ 307389 h 326563"/>
                <a:gd name="connsiteX31" fmla="*/ 354212 w 1492273"/>
                <a:gd name="connsiteY31" fmla="*/ 313237 h 326563"/>
                <a:gd name="connsiteX32" fmla="*/ 358204 w 1492273"/>
                <a:gd name="connsiteY32" fmla="*/ 317647 h 326563"/>
                <a:gd name="connsiteX33" fmla="*/ 363921 w 1492273"/>
                <a:gd name="connsiteY33" fmla="*/ 319295 h 326563"/>
                <a:gd name="connsiteX34" fmla="*/ 622504 w 1492273"/>
                <a:gd name="connsiteY34" fmla="*/ 319295 h 326563"/>
                <a:gd name="connsiteX35" fmla="*/ 661099 w 1492273"/>
                <a:gd name="connsiteY35" fmla="*/ 289082 h 326563"/>
                <a:gd name="connsiteX36" fmla="*/ 660861 w 1492273"/>
                <a:gd name="connsiteY36" fmla="*/ 272299 h 326563"/>
                <a:gd name="connsiteX37" fmla="*/ 653451 w 1492273"/>
                <a:gd name="connsiteY37" fmla="*/ 257250 h 326563"/>
                <a:gd name="connsiteX38" fmla="*/ 640297 w 1492273"/>
                <a:gd name="connsiteY38" fmla="*/ 246849 h 326563"/>
                <a:gd name="connsiteX39" fmla="*/ 623952 w 1492273"/>
                <a:gd name="connsiteY39" fmla="*/ 243105 h 326563"/>
                <a:gd name="connsiteX40" fmla="*/ 494883 w 1492273"/>
                <a:gd name="connsiteY40" fmla="*/ 243105 h 326563"/>
                <a:gd name="connsiteX41" fmla="*/ 659613 w 1492273"/>
                <a:gd name="connsiteY41" fmla="*/ 24972 h 326563"/>
                <a:gd name="connsiteX42" fmla="*/ 661785 w 1492273"/>
                <a:gd name="connsiteY42" fmla="*/ 19371 h 326563"/>
                <a:gd name="connsiteX43" fmla="*/ 660690 w 1492273"/>
                <a:gd name="connsiteY43" fmla="*/ 13473 h 326563"/>
                <a:gd name="connsiteX44" fmla="*/ 656661 w 1492273"/>
                <a:gd name="connsiteY44" fmla="*/ 9021 h 326563"/>
                <a:gd name="connsiteX45" fmla="*/ 650888 w 1492273"/>
                <a:gd name="connsiteY45" fmla="*/ 7358 h 326563"/>
                <a:gd name="connsiteX46" fmla="*/ 412780 w 1492273"/>
                <a:gd name="connsiteY46" fmla="*/ 7358 h 326563"/>
                <a:gd name="connsiteX47" fmla="*/ 1446105 w 1492273"/>
                <a:gd name="connsiteY47" fmla="*/ 8240 h 326563"/>
                <a:gd name="connsiteX48" fmla="*/ 1424484 w 1492273"/>
                <a:gd name="connsiteY48" fmla="*/ 22127 h 326563"/>
                <a:gd name="connsiteX49" fmla="*/ 1416378 w 1492273"/>
                <a:gd name="connsiteY49" fmla="*/ 46473 h 326563"/>
                <a:gd name="connsiteX50" fmla="*/ 1416378 w 1492273"/>
                <a:gd name="connsiteY50" fmla="*/ 173313 h 326563"/>
                <a:gd name="connsiteX51" fmla="*/ 1210980 w 1492273"/>
                <a:gd name="connsiteY51" fmla="*/ 9758 h 326563"/>
                <a:gd name="connsiteX52" fmla="*/ 1205389 w 1492273"/>
                <a:gd name="connsiteY52" fmla="*/ 7453 h 326563"/>
                <a:gd name="connsiteX53" fmla="*/ 1199426 w 1492273"/>
                <a:gd name="connsiteY53" fmla="*/ 8482 h 326563"/>
                <a:gd name="connsiteX54" fmla="*/ 1194921 w 1492273"/>
                <a:gd name="connsiteY54" fmla="*/ 12520 h 326563"/>
                <a:gd name="connsiteX55" fmla="*/ 1193263 w 1492273"/>
                <a:gd name="connsiteY55" fmla="*/ 18343 h 326563"/>
                <a:gd name="connsiteX56" fmla="*/ 1193263 w 1492273"/>
                <a:gd name="connsiteY56" fmla="*/ 280243 h 326563"/>
                <a:gd name="connsiteX57" fmla="*/ 1201388 w 1492273"/>
                <a:gd name="connsiteY57" fmla="*/ 304589 h 326563"/>
                <a:gd name="connsiteX58" fmla="*/ 1222962 w 1492273"/>
                <a:gd name="connsiteY58" fmla="*/ 318486 h 326563"/>
                <a:gd name="connsiteX59" fmla="*/ 1239803 w 1492273"/>
                <a:gd name="connsiteY59" fmla="*/ 318362 h 326563"/>
                <a:gd name="connsiteX60" fmla="*/ 1254966 w 1492273"/>
                <a:gd name="connsiteY60" fmla="*/ 310961 h 326563"/>
                <a:gd name="connsiteX61" fmla="*/ 1265444 w 1492273"/>
                <a:gd name="connsiteY61" fmla="*/ 297721 h 326563"/>
                <a:gd name="connsiteX62" fmla="*/ 1269159 w 1492273"/>
                <a:gd name="connsiteY62" fmla="*/ 281272 h 326563"/>
                <a:gd name="connsiteX63" fmla="*/ 1269159 w 1492273"/>
                <a:gd name="connsiteY63" fmla="*/ 153323 h 326563"/>
                <a:gd name="connsiteX64" fmla="*/ 1474538 w 1492273"/>
                <a:gd name="connsiteY64" fmla="*/ 316885 h 326563"/>
                <a:gd name="connsiteX65" fmla="*/ 1480148 w 1492273"/>
                <a:gd name="connsiteY65" fmla="*/ 319190 h 326563"/>
                <a:gd name="connsiteX66" fmla="*/ 1486120 w 1492273"/>
                <a:gd name="connsiteY66" fmla="*/ 318162 h 326563"/>
                <a:gd name="connsiteX67" fmla="*/ 1490625 w 1492273"/>
                <a:gd name="connsiteY67" fmla="*/ 314123 h 326563"/>
                <a:gd name="connsiteX68" fmla="*/ 1492273 w 1492273"/>
                <a:gd name="connsiteY68" fmla="*/ 308303 h 326563"/>
                <a:gd name="connsiteX69" fmla="*/ 1492273 w 1492273"/>
                <a:gd name="connsiteY69" fmla="*/ 45444 h 326563"/>
                <a:gd name="connsiteX70" fmla="*/ 1488559 w 1492273"/>
                <a:gd name="connsiteY70" fmla="*/ 28985 h 326563"/>
                <a:gd name="connsiteX71" fmla="*/ 1478081 w 1492273"/>
                <a:gd name="connsiteY71" fmla="*/ 15759 h 326563"/>
                <a:gd name="connsiteX72" fmla="*/ 1462908 w 1492273"/>
                <a:gd name="connsiteY72" fmla="*/ 8354 h 326563"/>
                <a:gd name="connsiteX73" fmla="*/ 1446105 w 1492273"/>
                <a:gd name="connsiteY73" fmla="*/ 8240 h 326563"/>
                <a:gd name="connsiteX74" fmla="*/ 911265 w 1492273"/>
                <a:gd name="connsiteY74" fmla="*/ 76254 h 326563"/>
                <a:gd name="connsiteX75" fmla="*/ 1063066 w 1492273"/>
                <a:gd name="connsiteY75" fmla="*/ 163286 h 326563"/>
                <a:gd name="connsiteX76" fmla="*/ 911265 w 1492273"/>
                <a:gd name="connsiteY76" fmla="*/ 250325 h 326563"/>
                <a:gd name="connsiteX77" fmla="*/ 759483 w 1492273"/>
                <a:gd name="connsiteY77" fmla="*/ 163286 h 326563"/>
                <a:gd name="connsiteX78" fmla="*/ 911265 w 1492273"/>
                <a:gd name="connsiteY78" fmla="*/ 76254 h 326563"/>
                <a:gd name="connsiteX79" fmla="*/ 911265 w 1492273"/>
                <a:gd name="connsiteY79" fmla="*/ 67 h 326563"/>
                <a:gd name="connsiteX80" fmla="*/ 683578 w 1492273"/>
                <a:gd name="connsiteY80" fmla="*/ 163286 h 326563"/>
                <a:gd name="connsiteX81" fmla="*/ 911265 w 1492273"/>
                <a:gd name="connsiteY81" fmla="*/ 326506 h 326563"/>
                <a:gd name="connsiteX82" fmla="*/ 1138961 w 1492273"/>
                <a:gd name="connsiteY82" fmla="*/ 163286 h 326563"/>
                <a:gd name="connsiteX83" fmla="*/ 911265 w 1492273"/>
                <a:gd name="connsiteY83" fmla="*/ 67 h 3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492273" h="326563">
                  <a:moveTo>
                    <a:pt x="180273" y="900"/>
                  </a:moveTo>
                  <a:cubicBezTo>
                    <a:pt x="146739" y="-2638"/>
                    <a:pt x="112948" y="4310"/>
                    <a:pt x="83526" y="20775"/>
                  </a:cubicBezTo>
                  <a:cubicBezTo>
                    <a:pt x="54104" y="37240"/>
                    <a:pt x="30499" y="62424"/>
                    <a:pt x="15954" y="92853"/>
                  </a:cubicBezTo>
                  <a:cubicBezTo>
                    <a:pt x="1417" y="123295"/>
                    <a:pt x="-3344" y="157489"/>
                    <a:pt x="2323" y="190737"/>
                  </a:cubicBezTo>
                  <a:cubicBezTo>
                    <a:pt x="7990" y="223998"/>
                    <a:pt x="23812" y="254669"/>
                    <a:pt x="47618" y="278557"/>
                  </a:cubicBezTo>
                  <a:cubicBezTo>
                    <a:pt x="71412" y="302455"/>
                    <a:pt x="102030" y="318381"/>
                    <a:pt x="135243" y="324153"/>
                  </a:cubicBezTo>
                  <a:cubicBezTo>
                    <a:pt x="168455" y="329925"/>
                    <a:pt x="202644" y="325277"/>
                    <a:pt x="233098" y="310818"/>
                  </a:cubicBezTo>
                  <a:cubicBezTo>
                    <a:pt x="263559" y="296359"/>
                    <a:pt x="288801" y="272814"/>
                    <a:pt x="305341" y="243429"/>
                  </a:cubicBezTo>
                  <a:cubicBezTo>
                    <a:pt x="321894" y="214035"/>
                    <a:pt x="328933" y="180240"/>
                    <a:pt x="325507" y="146675"/>
                  </a:cubicBezTo>
                  <a:cubicBezTo>
                    <a:pt x="321736" y="109375"/>
                    <a:pt x="305234" y="74514"/>
                    <a:pt x="278778" y="47965"/>
                  </a:cubicBezTo>
                  <a:cubicBezTo>
                    <a:pt x="252327" y="21410"/>
                    <a:pt x="217534" y="4786"/>
                    <a:pt x="180273" y="900"/>
                  </a:cubicBezTo>
                  <a:close/>
                  <a:moveTo>
                    <a:pt x="174984" y="249697"/>
                  </a:moveTo>
                  <a:cubicBezTo>
                    <a:pt x="156946" y="252116"/>
                    <a:pt x="138617" y="248820"/>
                    <a:pt x="122555" y="240277"/>
                  </a:cubicBezTo>
                  <a:cubicBezTo>
                    <a:pt x="106488" y="231725"/>
                    <a:pt x="93505" y="218366"/>
                    <a:pt x="85427" y="202047"/>
                  </a:cubicBezTo>
                  <a:cubicBezTo>
                    <a:pt x="77349" y="185733"/>
                    <a:pt x="74579" y="167300"/>
                    <a:pt x="77507" y="149329"/>
                  </a:cubicBezTo>
                  <a:cubicBezTo>
                    <a:pt x="80440" y="131372"/>
                    <a:pt x="88922" y="114773"/>
                    <a:pt x="101766" y="101883"/>
                  </a:cubicBezTo>
                  <a:cubicBezTo>
                    <a:pt x="114610" y="88986"/>
                    <a:pt x="131176" y="80452"/>
                    <a:pt x="149113" y="77461"/>
                  </a:cubicBezTo>
                  <a:cubicBezTo>
                    <a:pt x="167057" y="74470"/>
                    <a:pt x="185493" y="77181"/>
                    <a:pt x="201825" y="85220"/>
                  </a:cubicBezTo>
                  <a:cubicBezTo>
                    <a:pt x="218145" y="93247"/>
                    <a:pt x="231543" y="106194"/>
                    <a:pt x="240132" y="122247"/>
                  </a:cubicBezTo>
                  <a:cubicBezTo>
                    <a:pt x="248725" y="138293"/>
                    <a:pt x="252068" y="156625"/>
                    <a:pt x="249714" y="174684"/>
                  </a:cubicBezTo>
                  <a:cubicBezTo>
                    <a:pt x="247233" y="193670"/>
                    <a:pt x="238569" y="211305"/>
                    <a:pt x="225058" y="224868"/>
                  </a:cubicBezTo>
                  <a:cubicBezTo>
                    <a:pt x="211546" y="238425"/>
                    <a:pt x="193948" y="247154"/>
                    <a:pt x="174984" y="249697"/>
                  </a:cubicBezTo>
                  <a:close/>
                  <a:moveTo>
                    <a:pt x="412780" y="7358"/>
                  </a:moveTo>
                  <a:cubicBezTo>
                    <a:pt x="407126" y="7370"/>
                    <a:pt x="401534" y="8646"/>
                    <a:pt x="396435" y="11091"/>
                  </a:cubicBezTo>
                  <a:cubicBezTo>
                    <a:pt x="391328" y="13536"/>
                    <a:pt x="386833" y="17092"/>
                    <a:pt x="383276" y="21498"/>
                  </a:cubicBezTo>
                  <a:cubicBezTo>
                    <a:pt x="379712" y="25899"/>
                    <a:pt x="377174" y="31042"/>
                    <a:pt x="375859" y="36548"/>
                  </a:cubicBezTo>
                  <a:cubicBezTo>
                    <a:pt x="374537" y="42053"/>
                    <a:pt x="374448" y="47787"/>
                    <a:pt x="375620" y="53325"/>
                  </a:cubicBezTo>
                  <a:cubicBezTo>
                    <a:pt x="379202" y="71282"/>
                    <a:pt x="395956" y="83537"/>
                    <a:pt x="414209" y="83537"/>
                  </a:cubicBezTo>
                  <a:lnTo>
                    <a:pt x="520143" y="83537"/>
                  </a:lnTo>
                  <a:lnTo>
                    <a:pt x="355289" y="301846"/>
                  </a:lnTo>
                  <a:cubicBezTo>
                    <a:pt x="354067" y="303455"/>
                    <a:pt x="353324" y="305379"/>
                    <a:pt x="353136" y="307389"/>
                  </a:cubicBezTo>
                  <a:cubicBezTo>
                    <a:pt x="352940" y="309399"/>
                    <a:pt x="353319" y="311428"/>
                    <a:pt x="354212" y="313237"/>
                  </a:cubicBezTo>
                  <a:cubicBezTo>
                    <a:pt x="355113" y="315047"/>
                    <a:pt x="356491" y="316581"/>
                    <a:pt x="358204" y="317647"/>
                  </a:cubicBezTo>
                  <a:cubicBezTo>
                    <a:pt x="359923" y="318714"/>
                    <a:pt x="361900" y="319286"/>
                    <a:pt x="363921" y="319295"/>
                  </a:cubicBezTo>
                  <a:lnTo>
                    <a:pt x="622504" y="319295"/>
                  </a:lnTo>
                  <a:cubicBezTo>
                    <a:pt x="640744" y="319295"/>
                    <a:pt x="657518" y="307037"/>
                    <a:pt x="661099" y="289082"/>
                  </a:cubicBezTo>
                  <a:cubicBezTo>
                    <a:pt x="662271" y="283539"/>
                    <a:pt x="662185" y="277805"/>
                    <a:pt x="660861" y="272299"/>
                  </a:cubicBezTo>
                  <a:cubicBezTo>
                    <a:pt x="659537" y="266794"/>
                    <a:pt x="657004" y="261650"/>
                    <a:pt x="653451" y="257250"/>
                  </a:cubicBezTo>
                  <a:cubicBezTo>
                    <a:pt x="649898" y="252849"/>
                    <a:pt x="645402" y="249297"/>
                    <a:pt x="640297" y="246849"/>
                  </a:cubicBezTo>
                  <a:cubicBezTo>
                    <a:pt x="635191" y="244391"/>
                    <a:pt x="629610" y="243115"/>
                    <a:pt x="623952" y="243105"/>
                  </a:cubicBezTo>
                  <a:lnTo>
                    <a:pt x="494883" y="243105"/>
                  </a:lnTo>
                  <a:lnTo>
                    <a:pt x="659613" y="24972"/>
                  </a:lnTo>
                  <a:cubicBezTo>
                    <a:pt x="660842" y="23340"/>
                    <a:pt x="661595" y="21403"/>
                    <a:pt x="661785" y="19371"/>
                  </a:cubicBezTo>
                  <a:cubicBezTo>
                    <a:pt x="661976" y="17340"/>
                    <a:pt x="661604" y="15295"/>
                    <a:pt x="660690" y="13473"/>
                  </a:cubicBezTo>
                  <a:cubicBezTo>
                    <a:pt x="659785" y="11637"/>
                    <a:pt x="658385" y="10101"/>
                    <a:pt x="656661" y="9021"/>
                  </a:cubicBezTo>
                  <a:cubicBezTo>
                    <a:pt x="654937" y="7942"/>
                    <a:pt x="652927" y="7363"/>
                    <a:pt x="650888" y="7358"/>
                  </a:cubicBezTo>
                  <a:lnTo>
                    <a:pt x="412780" y="7358"/>
                  </a:lnTo>
                  <a:close/>
                  <a:moveTo>
                    <a:pt x="1446105" y="8240"/>
                  </a:moveTo>
                  <a:cubicBezTo>
                    <a:pt x="1437514" y="10272"/>
                    <a:pt x="1429894" y="15174"/>
                    <a:pt x="1424484" y="22127"/>
                  </a:cubicBezTo>
                  <a:cubicBezTo>
                    <a:pt x="1419112" y="29080"/>
                    <a:pt x="1416254" y="37666"/>
                    <a:pt x="1416378" y="46473"/>
                  </a:cubicBezTo>
                  <a:lnTo>
                    <a:pt x="1416378" y="173313"/>
                  </a:lnTo>
                  <a:lnTo>
                    <a:pt x="1210980" y="9758"/>
                  </a:lnTo>
                  <a:cubicBezTo>
                    <a:pt x="1209361" y="8475"/>
                    <a:pt x="1207427" y="7675"/>
                    <a:pt x="1205389" y="7453"/>
                  </a:cubicBezTo>
                  <a:cubicBezTo>
                    <a:pt x="1203341" y="7230"/>
                    <a:pt x="1201274" y="7580"/>
                    <a:pt x="1199426" y="8482"/>
                  </a:cubicBezTo>
                  <a:cubicBezTo>
                    <a:pt x="1197569" y="9377"/>
                    <a:pt x="1196006" y="10773"/>
                    <a:pt x="1194921" y="12520"/>
                  </a:cubicBezTo>
                  <a:cubicBezTo>
                    <a:pt x="1193835" y="14273"/>
                    <a:pt x="1193254" y="16285"/>
                    <a:pt x="1193263" y="18343"/>
                  </a:cubicBezTo>
                  <a:lnTo>
                    <a:pt x="1193263" y="280243"/>
                  </a:lnTo>
                  <a:cubicBezTo>
                    <a:pt x="1193120" y="289054"/>
                    <a:pt x="1195987" y="297645"/>
                    <a:pt x="1201388" y="304589"/>
                  </a:cubicBezTo>
                  <a:cubicBezTo>
                    <a:pt x="1206789" y="311542"/>
                    <a:pt x="1214409" y="316447"/>
                    <a:pt x="1222962" y="318486"/>
                  </a:cubicBezTo>
                  <a:cubicBezTo>
                    <a:pt x="1228525" y="319714"/>
                    <a:pt x="1234288" y="319667"/>
                    <a:pt x="1239803" y="318362"/>
                  </a:cubicBezTo>
                  <a:cubicBezTo>
                    <a:pt x="1245346" y="317066"/>
                    <a:pt x="1250518" y="314533"/>
                    <a:pt x="1254966" y="310961"/>
                  </a:cubicBezTo>
                  <a:cubicBezTo>
                    <a:pt x="1259415" y="307389"/>
                    <a:pt x="1263006" y="302874"/>
                    <a:pt x="1265444" y="297721"/>
                  </a:cubicBezTo>
                  <a:cubicBezTo>
                    <a:pt x="1267882" y="292587"/>
                    <a:pt x="1269159" y="286958"/>
                    <a:pt x="1269159" y="281272"/>
                  </a:cubicBezTo>
                  <a:lnTo>
                    <a:pt x="1269159" y="153323"/>
                  </a:lnTo>
                  <a:lnTo>
                    <a:pt x="1474538" y="316885"/>
                  </a:lnTo>
                  <a:cubicBezTo>
                    <a:pt x="1476195" y="318171"/>
                    <a:pt x="1478138" y="318962"/>
                    <a:pt x="1480148" y="319190"/>
                  </a:cubicBezTo>
                  <a:cubicBezTo>
                    <a:pt x="1482224" y="319419"/>
                    <a:pt x="1484291" y="319057"/>
                    <a:pt x="1486120" y="318162"/>
                  </a:cubicBezTo>
                  <a:cubicBezTo>
                    <a:pt x="1487949" y="317266"/>
                    <a:pt x="1489530" y="315866"/>
                    <a:pt x="1490625" y="314123"/>
                  </a:cubicBezTo>
                  <a:cubicBezTo>
                    <a:pt x="1491721" y="312380"/>
                    <a:pt x="1492273" y="310361"/>
                    <a:pt x="1492273" y="308303"/>
                  </a:cubicBezTo>
                  <a:lnTo>
                    <a:pt x="1492273" y="45444"/>
                  </a:lnTo>
                  <a:cubicBezTo>
                    <a:pt x="1492273" y="39748"/>
                    <a:pt x="1490997" y="34123"/>
                    <a:pt x="1488559" y="28985"/>
                  </a:cubicBezTo>
                  <a:cubicBezTo>
                    <a:pt x="1486120" y="23848"/>
                    <a:pt x="1482529" y="19327"/>
                    <a:pt x="1478081" y="15759"/>
                  </a:cubicBezTo>
                  <a:cubicBezTo>
                    <a:pt x="1473633" y="12190"/>
                    <a:pt x="1468461" y="9656"/>
                    <a:pt x="1462908" y="8354"/>
                  </a:cubicBezTo>
                  <a:cubicBezTo>
                    <a:pt x="1457364" y="7059"/>
                    <a:pt x="1451649" y="7015"/>
                    <a:pt x="1446105" y="8240"/>
                  </a:cubicBezTo>
                  <a:close/>
                  <a:moveTo>
                    <a:pt x="911265" y="76254"/>
                  </a:moveTo>
                  <a:cubicBezTo>
                    <a:pt x="998152" y="76254"/>
                    <a:pt x="1063066" y="122196"/>
                    <a:pt x="1063066" y="163286"/>
                  </a:cubicBezTo>
                  <a:cubicBezTo>
                    <a:pt x="1063066" y="204383"/>
                    <a:pt x="998152" y="250325"/>
                    <a:pt x="911265" y="250325"/>
                  </a:cubicBezTo>
                  <a:cubicBezTo>
                    <a:pt x="824397" y="250325"/>
                    <a:pt x="759483" y="204383"/>
                    <a:pt x="759483" y="163286"/>
                  </a:cubicBezTo>
                  <a:cubicBezTo>
                    <a:pt x="759483" y="122196"/>
                    <a:pt x="824397" y="76254"/>
                    <a:pt x="911265" y="76254"/>
                  </a:cubicBezTo>
                  <a:close/>
                  <a:moveTo>
                    <a:pt x="911265" y="67"/>
                  </a:moveTo>
                  <a:cubicBezTo>
                    <a:pt x="785515" y="67"/>
                    <a:pt x="683578" y="73142"/>
                    <a:pt x="683578" y="163286"/>
                  </a:cubicBezTo>
                  <a:cubicBezTo>
                    <a:pt x="683578" y="253421"/>
                    <a:pt x="785515" y="326506"/>
                    <a:pt x="911265" y="326506"/>
                  </a:cubicBezTo>
                  <a:cubicBezTo>
                    <a:pt x="1037024" y="326506"/>
                    <a:pt x="1138961" y="253421"/>
                    <a:pt x="1138961" y="163286"/>
                  </a:cubicBezTo>
                  <a:cubicBezTo>
                    <a:pt x="1138961" y="73142"/>
                    <a:pt x="1037024" y="67"/>
                    <a:pt x="911265" y="67"/>
                  </a:cubicBezTo>
                  <a:close/>
                </a:path>
              </a:pathLst>
            </a:custGeom>
            <a:grpFill/>
            <a:ln w="76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E1F914-6E31-3D8A-0729-94C84B17961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6718" y="2152745"/>
            <a:ext cx="8206245" cy="2277549"/>
          </a:xfrm>
        </p:spPr>
        <p:txBody>
          <a:bodyPr vert="horz" anchor="b">
            <a:noAutofit/>
          </a:bodyPr>
          <a:lstStyle>
            <a:lvl1pPr algn="l">
              <a:lnSpc>
                <a:spcPct val="90000"/>
              </a:lnSpc>
              <a:defRPr sz="4800" spc="-50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Напиши смысловой заголовок презентации </a:t>
            </a:r>
            <a:br>
              <a:rPr lang="ru-RU"/>
            </a:br>
            <a:r>
              <a:rPr lang="ru-RU"/>
              <a:t>в 2–3 строки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F11FA05-DC06-B340-2031-0DB23FEF24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49400" y="4705255"/>
            <a:ext cx="8174332" cy="81756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Напиши подзаголовок презентации, имя спикера </a:t>
            </a:r>
            <a:br>
              <a:rPr lang="ru-RU"/>
            </a:br>
            <a:r>
              <a:rPr lang="ru-RU"/>
              <a:t>и другую дополнительную информацию</a:t>
            </a: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5AD7914A-6F7A-0AB4-0320-8B0610322A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5AD7914A-6F7A-0AB4-0320-8B0610322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15B33EE8-2A0C-A289-E633-0C1A78BC22F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15B33EE8-2A0C-A289-E633-0C1A78BC22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EDB5745A-EB00-381B-6668-493769E30B62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EDB5745A-EB00-381B-6668-493769E30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1A29F7CF-5EA7-385D-A6B8-3F74846ECFA0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1A29F7CF-5EA7-385D-A6B8-3F74846EC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69EB17E6-0D76-E72E-817B-D0C2F75924C4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id="{69EB17E6-0D76-E72E-817B-D0C2F7592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Объект 9" hidden="1">
            <a:extLst>
              <a:ext uri="{FF2B5EF4-FFF2-40B4-BE49-F238E27FC236}">
                <a16:creationId xmlns:a16="http://schemas.microsoft.com/office/drawing/2014/main" id="{A111C868-F548-CDE4-4C8F-957F32A69173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0" name="Объект 9" hidden="1">
                        <a:extLst>
                          <a:ext uri="{FF2B5EF4-FFF2-40B4-BE49-F238E27FC236}">
                            <a16:creationId xmlns:a16="http://schemas.microsoft.com/office/drawing/2014/main" id="{A111C868-F548-CDE4-4C8F-957F32A691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5915CAD-91BC-0EC7-7D14-6FCC6EF3F283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35915CAD-91BC-0EC7-7D14-6FCC6EF3F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6B49F19B-8C48-33CB-BF6F-83498DB8EA19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1" name="Объект 10" hidden="1">
                        <a:extLst>
                          <a:ext uri="{FF2B5EF4-FFF2-40B4-BE49-F238E27FC236}">
                            <a16:creationId xmlns:a16="http://schemas.microsoft.com/office/drawing/2014/main" id="{6B49F19B-8C48-33CB-BF6F-83498DB8E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Объект 12" hidden="1">
            <a:extLst>
              <a:ext uri="{FF2B5EF4-FFF2-40B4-BE49-F238E27FC236}">
                <a16:creationId xmlns:a16="http://schemas.microsoft.com/office/drawing/2014/main" id="{D06FCB91-1283-7736-EEFE-502F0AEF6241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3" name="Объект 12" hidden="1">
                        <a:extLst>
                          <a:ext uri="{FF2B5EF4-FFF2-40B4-BE49-F238E27FC236}">
                            <a16:creationId xmlns:a16="http://schemas.microsoft.com/office/drawing/2014/main" id="{D06FCB91-1283-7736-EEFE-502F0AEF62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970EB312-66D1-9625-3377-075970721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5241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33" imgH="233" progId="TCLayout.ActiveDocument.1">
                  <p:embed/>
                </p:oleObj>
              </mc:Choice>
              <mc:Fallback>
                <p:oleObj name="Слайд think-cell" r:id="rId13" imgW="233" imgH="233" progId="TCLayout.ActiveDocument.1">
                  <p:embed/>
                  <p:pic>
                    <p:nvPicPr>
                      <p:cNvPr id="14" name="Объект 13" hidden="1">
                        <a:extLst>
                          <a:ext uri="{FF2B5EF4-FFF2-40B4-BE49-F238E27FC236}">
                            <a16:creationId xmlns:a16="http://schemas.microsoft.com/office/drawing/2014/main" id="{970EB312-66D1-9625-3377-075970721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5194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2E22186C-4B12-E0C1-79B2-480F2CD086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047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33" imgH="233" progId="TCLayout.ActiveDocument.1">
                  <p:embed/>
                </p:oleObj>
              </mc:Choice>
              <mc:Fallback>
                <p:oleObj name="Слайд think-cell" r:id="rId3" imgW="233" imgH="233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E22186C-4B12-E0C1-79B2-480F2CD08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5">
            <a:extLst>
              <a:ext uri="{FF2B5EF4-FFF2-40B4-BE49-F238E27FC236}">
                <a16:creationId xmlns:a16="http://schemas.microsoft.com/office/drawing/2014/main" id="{E12A9EE7-556C-024A-A440-39817B7D8B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8215" y="2442368"/>
            <a:ext cx="1350017" cy="1293915"/>
          </a:xfrm>
        </p:spPr>
        <p:txBody>
          <a:bodyPr anchor="t"/>
          <a:lstStyle>
            <a:lvl1pPr algn="l">
              <a:defRPr sz="8000" b="0" spc="-20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00</a:t>
            </a:r>
            <a:endParaRPr lang="ru-RU" dirty="0"/>
          </a:p>
        </p:txBody>
      </p:sp>
      <p:sp>
        <p:nvSpPr>
          <p:cNvPr id="10" name="Текст 8">
            <a:extLst>
              <a:ext uri="{FF2B5EF4-FFF2-40B4-BE49-F238E27FC236}">
                <a16:creationId xmlns:a16="http://schemas.microsoft.com/office/drawing/2014/main" id="{463E0D73-85A7-6B48-96CE-B4E3A12EBA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8321" y="2580370"/>
            <a:ext cx="6784279" cy="2341562"/>
          </a:xfrm>
        </p:spPr>
        <p:txBody>
          <a:bodyPr/>
          <a:lstStyle>
            <a:lvl1pPr>
              <a:spcAft>
                <a:spcPts val="0"/>
              </a:spcAft>
              <a:defRPr sz="4000" b="0" spc="-5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пиши смысловой заголовок раздела </a:t>
            </a:r>
            <a:br>
              <a:rPr lang="ru-RU" dirty="0"/>
            </a:br>
            <a:r>
              <a:rPr lang="ru-RU" dirty="0"/>
              <a:t>в 2–3 строки</a:t>
            </a:r>
          </a:p>
        </p:txBody>
      </p:sp>
      <p:sp>
        <p:nvSpPr>
          <p:cNvPr id="3" name="Рисунок 1">
            <a:extLst>
              <a:ext uri="{FF2B5EF4-FFF2-40B4-BE49-F238E27FC236}">
                <a16:creationId xmlns:a16="http://schemas.microsoft.com/office/drawing/2014/main" id="{4E651A1C-E2EA-D6A0-B368-C2CB66F5EAF4}"/>
              </a:ext>
            </a:extLst>
          </p:cNvPr>
          <p:cNvSpPr>
            <a:spLocks noChangeAspect="1"/>
          </p:cNvSpPr>
          <p:nvPr userDrawn="1"/>
        </p:nvSpPr>
        <p:spPr>
          <a:xfrm>
            <a:off x="2463428" y="1866339"/>
            <a:ext cx="1440844" cy="3492800"/>
          </a:xfrm>
          <a:custGeom>
            <a:avLst/>
            <a:gdLst>
              <a:gd name="connsiteX0" fmla="*/ 0 w 1440844"/>
              <a:gd name="connsiteY0" fmla="*/ 1367312 h 3492800"/>
              <a:gd name="connsiteX1" fmla="*/ 0 w 1440844"/>
              <a:gd name="connsiteY1" fmla="*/ 1354351 h 3492800"/>
              <a:gd name="connsiteX2" fmla="*/ 0 w 1440844"/>
              <a:gd name="connsiteY2" fmla="*/ 1030344 h 3492800"/>
              <a:gd name="connsiteX3" fmla="*/ 52157 w 1440844"/>
              <a:gd name="connsiteY3" fmla="*/ 965542 h 3492800"/>
              <a:gd name="connsiteX4" fmla="*/ 176031 w 1440844"/>
              <a:gd name="connsiteY4" fmla="*/ 946102 h 3492800"/>
              <a:gd name="connsiteX5" fmla="*/ 495494 w 1440844"/>
              <a:gd name="connsiteY5" fmla="*/ 524892 h 3492800"/>
              <a:gd name="connsiteX6" fmla="*/ 495494 w 1440844"/>
              <a:gd name="connsiteY6" fmla="*/ 64801 h 3492800"/>
              <a:gd name="connsiteX7" fmla="*/ 554171 w 1440844"/>
              <a:gd name="connsiteY7" fmla="*/ 0 h 3492800"/>
              <a:gd name="connsiteX8" fmla="*/ 867115 w 1440844"/>
              <a:gd name="connsiteY8" fmla="*/ 0 h 3492800"/>
              <a:gd name="connsiteX9" fmla="*/ 925792 w 1440844"/>
              <a:gd name="connsiteY9" fmla="*/ 64801 h 3492800"/>
              <a:gd name="connsiteX10" fmla="*/ 925792 w 1440844"/>
              <a:gd name="connsiteY10" fmla="*/ 524892 h 3492800"/>
              <a:gd name="connsiteX11" fmla="*/ 573730 w 1440844"/>
              <a:gd name="connsiteY11" fmla="*/ 1192347 h 3492800"/>
              <a:gd name="connsiteX12" fmla="*/ 925792 w 1440844"/>
              <a:gd name="connsiteY12" fmla="*/ 1827402 h 3492800"/>
              <a:gd name="connsiteX13" fmla="*/ 925792 w 1440844"/>
              <a:gd name="connsiteY13" fmla="*/ 2838305 h 3492800"/>
              <a:gd name="connsiteX14" fmla="*/ 1147460 w 1440844"/>
              <a:gd name="connsiteY14" fmla="*/ 3058630 h 3492800"/>
              <a:gd name="connsiteX15" fmla="*/ 1375648 w 1440844"/>
              <a:gd name="connsiteY15" fmla="*/ 3058630 h 3492800"/>
              <a:gd name="connsiteX16" fmla="*/ 1434325 w 1440844"/>
              <a:gd name="connsiteY16" fmla="*/ 3123432 h 3492800"/>
              <a:gd name="connsiteX17" fmla="*/ 1440845 w 1440844"/>
              <a:gd name="connsiteY17" fmla="*/ 3427999 h 3492800"/>
              <a:gd name="connsiteX18" fmla="*/ 1375648 w 1440844"/>
              <a:gd name="connsiteY18" fmla="*/ 3492800 h 3492800"/>
              <a:gd name="connsiteX19" fmla="*/ 1193097 w 1440844"/>
              <a:gd name="connsiteY19" fmla="*/ 3492800 h 3492800"/>
              <a:gd name="connsiteX20" fmla="*/ 697603 w 1440844"/>
              <a:gd name="connsiteY20" fmla="*/ 3291916 h 3492800"/>
              <a:gd name="connsiteX21" fmla="*/ 488974 w 1440844"/>
              <a:gd name="connsiteY21" fmla="*/ 2792944 h 3492800"/>
              <a:gd name="connsiteX22" fmla="*/ 488974 w 1440844"/>
              <a:gd name="connsiteY22" fmla="*/ 1846843 h 3492800"/>
              <a:gd name="connsiteX23" fmla="*/ 169511 w 1440844"/>
              <a:gd name="connsiteY23" fmla="*/ 1451553 h 3492800"/>
              <a:gd name="connsiteX24" fmla="*/ 45638 w 1440844"/>
              <a:gd name="connsiteY24" fmla="*/ 1432113 h 3492800"/>
              <a:gd name="connsiteX25" fmla="*/ 0 w 1440844"/>
              <a:gd name="connsiteY25" fmla="*/ 1367312 h 3492800"/>
              <a:gd name="connsiteX26" fmla="*/ 0 w 1440844"/>
              <a:gd name="connsiteY26" fmla="*/ 1367312 h 349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440844" h="3492800">
                <a:moveTo>
                  <a:pt x="0" y="1367312"/>
                </a:moveTo>
                <a:cubicBezTo>
                  <a:pt x="0" y="1360831"/>
                  <a:pt x="0" y="1360831"/>
                  <a:pt x="0" y="1354351"/>
                </a:cubicBezTo>
                <a:lnTo>
                  <a:pt x="0" y="1030344"/>
                </a:lnTo>
                <a:cubicBezTo>
                  <a:pt x="0" y="997943"/>
                  <a:pt x="19559" y="972022"/>
                  <a:pt x="52157" y="965542"/>
                </a:cubicBezTo>
                <a:cubicBezTo>
                  <a:pt x="97795" y="959062"/>
                  <a:pt x="156472" y="946102"/>
                  <a:pt x="176031" y="946102"/>
                </a:cubicBezTo>
                <a:cubicBezTo>
                  <a:pt x="247747" y="926661"/>
                  <a:pt x="495494" y="868340"/>
                  <a:pt x="495494" y="524892"/>
                </a:cubicBezTo>
                <a:lnTo>
                  <a:pt x="495494" y="64801"/>
                </a:lnTo>
                <a:cubicBezTo>
                  <a:pt x="495494" y="32401"/>
                  <a:pt x="521573" y="0"/>
                  <a:pt x="554171" y="0"/>
                </a:cubicBezTo>
                <a:lnTo>
                  <a:pt x="867115" y="0"/>
                </a:lnTo>
                <a:cubicBezTo>
                  <a:pt x="906233" y="0"/>
                  <a:pt x="925792" y="25921"/>
                  <a:pt x="925792" y="64801"/>
                </a:cubicBezTo>
                <a:lnTo>
                  <a:pt x="925792" y="524892"/>
                </a:lnTo>
                <a:cubicBezTo>
                  <a:pt x="925792" y="991463"/>
                  <a:pt x="593289" y="1179387"/>
                  <a:pt x="573730" y="1192347"/>
                </a:cubicBezTo>
                <a:cubicBezTo>
                  <a:pt x="593289" y="1205308"/>
                  <a:pt x="912752" y="1380272"/>
                  <a:pt x="925792" y="1827402"/>
                </a:cubicBezTo>
                <a:cubicBezTo>
                  <a:pt x="925792" y="1840362"/>
                  <a:pt x="925792" y="2617980"/>
                  <a:pt x="925792" y="2838305"/>
                </a:cubicBezTo>
                <a:cubicBezTo>
                  <a:pt x="925792" y="2961428"/>
                  <a:pt x="1030106" y="3058630"/>
                  <a:pt x="1147460" y="3058630"/>
                </a:cubicBezTo>
                <a:cubicBezTo>
                  <a:pt x="1232215" y="3058630"/>
                  <a:pt x="1316971" y="3058630"/>
                  <a:pt x="1375648" y="3058630"/>
                </a:cubicBezTo>
                <a:cubicBezTo>
                  <a:pt x="1408246" y="3058630"/>
                  <a:pt x="1434325" y="3091031"/>
                  <a:pt x="1434325" y="3123432"/>
                </a:cubicBezTo>
                <a:cubicBezTo>
                  <a:pt x="1434325" y="3207674"/>
                  <a:pt x="1440845" y="3311356"/>
                  <a:pt x="1440845" y="3427999"/>
                </a:cubicBezTo>
                <a:cubicBezTo>
                  <a:pt x="1440845" y="3466880"/>
                  <a:pt x="1408246" y="3492800"/>
                  <a:pt x="1375648" y="3492800"/>
                </a:cubicBezTo>
                <a:lnTo>
                  <a:pt x="1193097" y="3492800"/>
                </a:lnTo>
                <a:cubicBezTo>
                  <a:pt x="1010547" y="3492800"/>
                  <a:pt x="827997" y="3421519"/>
                  <a:pt x="697603" y="3291916"/>
                </a:cubicBezTo>
                <a:cubicBezTo>
                  <a:pt x="560691" y="3162313"/>
                  <a:pt x="488974" y="2980869"/>
                  <a:pt x="488974" y="2792944"/>
                </a:cubicBezTo>
                <a:cubicBezTo>
                  <a:pt x="488974" y="2792944"/>
                  <a:pt x="488974" y="1853323"/>
                  <a:pt x="488974" y="1846843"/>
                </a:cubicBezTo>
                <a:cubicBezTo>
                  <a:pt x="482455" y="1522835"/>
                  <a:pt x="241227" y="1470994"/>
                  <a:pt x="169511" y="1451553"/>
                </a:cubicBezTo>
                <a:cubicBezTo>
                  <a:pt x="149952" y="1445073"/>
                  <a:pt x="91275" y="1438593"/>
                  <a:pt x="45638" y="1432113"/>
                </a:cubicBezTo>
                <a:cubicBezTo>
                  <a:pt x="13039" y="1432113"/>
                  <a:pt x="0" y="1399712"/>
                  <a:pt x="0" y="1367312"/>
                </a:cubicBezTo>
                <a:lnTo>
                  <a:pt x="0" y="1367312"/>
                </a:lnTo>
                <a:close/>
              </a:path>
            </a:pathLst>
          </a:custGeom>
          <a:solidFill>
            <a:srgbClr val="3ADF68"/>
          </a:solidFill>
          <a:ln w="65088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56177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>
            <a:extLst>
              <a:ext uri="{FF2B5EF4-FFF2-40B4-BE49-F238E27FC236}">
                <a16:creationId xmlns:a16="http://schemas.microsoft.com/office/drawing/2014/main" id="{0313FEF4-EFA5-F998-F890-8EDC7FD4935F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840332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2" imgW="233" imgH="233" progId="TCLayout.ActiveDocument.1">
                  <p:embed/>
                </p:oleObj>
              </mc:Choice>
              <mc:Fallback>
                <p:oleObj name="Слайд think-cell" r:id="rId22" imgW="233" imgH="233" progId="TCLayout.ActiveDocument.1">
                  <p:embed/>
                  <p:pic>
                    <p:nvPicPr>
                      <p:cNvPr id="16" name="Объект 15" hidden="1">
                        <a:extLst>
                          <a:ext uri="{FF2B5EF4-FFF2-40B4-BE49-F238E27FC236}">
                            <a16:creationId xmlns:a16="http://schemas.microsoft.com/office/drawing/2014/main" id="{0313FEF4-EFA5-F998-F890-8EDC7FD493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E946391-FC95-6108-BE64-E793A095D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3015302-E613-3B7A-0750-0AE24E6F54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9764" y="1519200"/>
            <a:ext cx="10910886" cy="474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ёртый уровень</a:t>
            </a:r>
          </a:p>
          <a:p>
            <a:pPr lvl="4"/>
            <a:r>
              <a:rPr lang="ru-RU" dirty="0"/>
              <a:t>Пятый уровень</a:t>
            </a:r>
          </a:p>
          <a:p>
            <a:pPr lvl="5"/>
            <a:r>
              <a:rPr lang="ru-RU" dirty="0"/>
              <a:t>Шестой уровень</a:t>
            </a:r>
          </a:p>
          <a:p>
            <a:pPr lvl="6"/>
            <a:r>
              <a:rPr lang="ru-RU" dirty="0"/>
              <a:t>Седьмой уровень</a:t>
            </a:r>
          </a:p>
          <a:p>
            <a:pPr lvl="7"/>
            <a:r>
              <a:rPr lang="ru-RU" dirty="0"/>
              <a:t>Восьмой уровень</a:t>
            </a:r>
          </a:p>
          <a:p>
            <a:pPr lvl="8"/>
            <a:r>
              <a:rPr lang="ru-RU" dirty="0"/>
              <a:t>Дев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53D03FA-A34D-BF86-A761-ACA475F2CD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0800" y="6465600"/>
            <a:ext cx="8182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2392AA5-C52C-BAA9-4852-A790EECFD0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56000" y="6429600"/>
            <a:ext cx="9072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rgbClr val="5A6C7D"/>
                </a:solidFill>
              </a:defRPr>
            </a:lvl1pPr>
          </a:lstStyle>
          <a:p>
            <a:fld id="{EB5249F5-0093-48B0-B996-C4E44A87EAF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9880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5" r:id="rId4"/>
    <p:sldLayoutId id="2147483846" r:id="rId5"/>
    <p:sldLayoutId id="2147483847" r:id="rId6"/>
    <p:sldLayoutId id="2147483840" r:id="rId7"/>
    <p:sldLayoutId id="2147483841" r:id="rId8"/>
    <p:sldLayoutId id="2147483842" r:id="rId9"/>
    <p:sldLayoutId id="2147483843" r:id="rId10"/>
    <p:sldLayoutId id="2147483849" r:id="rId11"/>
    <p:sldLayoutId id="2147483850" r:id="rId12"/>
    <p:sldLayoutId id="2147483851" r:id="rId13"/>
    <p:sldLayoutId id="2147483844" r:id="rId14"/>
    <p:sldLayoutId id="2147483853" r:id="rId15"/>
    <p:sldLayoutId id="2147483848" r:id="rId16"/>
    <p:sldLayoutId id="2147483854" r:id="rId17"/>
    <p:sldLayoutId id="2147483855" r:id="rId18"/>
    <p:sldLayoutId id="2147483852" r:id="rId19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269875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46088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96000" indent="-126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1" userDrawn="1">
          <p15:clr>
            <a:srgbClr val="9BADC0"/>
          </p15:clr>
        </p15:guide>
        <p15:guide id="72" pos="7680" userDrawn="1">
          <p15:clr>
            <a:srgbClr val="9BADC0"/>
          </p15:clr>
        </p15:guide>
        <p15:guide id="73" pos="403" userDrawn="1">
          <p15:clr>
            <a:srgbClr val="F26B43"/>
          </p15:clr>
        </p15:guide>
        <p15:guide id="74" pos="976" userDrawn="1">
          <p15:clr>
            <a:srgbClr val="9BADC0"/>
          </p15:clr>
        </p15:guide>
        <p15:guide id="75" pos="1548" userDrawn="1">
          <p15:clr>
            <a:srgbClr val="9BADC0"/>
          </p15:clr>
        </p15:guide>
        <p15:guide id="76" pos="2121" userDrawn="1">
          <p15:clr>
            <a:srgbClr val="9BADC0"/>
          </p15:clr>
        </p15:guide>
        <p15:guide id="77" pos="2694" userDrawn="1">
          <p15:clr>
            <a:srgbClr val="9BADC0"/>
          </p15:clr>
        </p15:guide>
        <p15:guide id="78" pos="3267" userDrawn="1">
          <p15:clr>
            <a:srgbClr val="9BADC0"/>
          </p15:clr>
        </p15:guide>
        <p15:guide id="79" pos="3840" userDrawn="1">
          <p15:clr>
            <a:srgbClr val="9BADC0"/>
          </p15:clr>
        </p15:guide>
        <p15:guide id="80" pos="4412" userDrawn="1">
          <p15:clr>
            <a:srgbClr val="9BADC0"/>
          </p15:clr>
        </p15:guide>
        <p15:guide id="81" pos="4985" userDrawn="1">
          <p15:clr>
            <a:srgbClr val="9BADC0"/>
          </p15:clr>
        </p15:guide>
        <p15:guide id="82" pos="5558" userDrawn="1">
          <p15:clr>
            <a:srgbClr val="9BADC0"/>
          </p15:clr>
        </p15:guide>
        <p15:guide id="83" pos="6131" userDrawn="1">
          <p15:clr>
            <a:srgbClr val="9BADC0"/>
          </p15:clr>
        </p15:guide>
        <p15:guide id="84" pos="6704" userDrawn="1">
          <p15:clr>
            <a:srgbClr val="9BADC0"/>
          </p15:clr>
        </p15:guide>
        <p15:guide id="85" pos="7276" userDrawn="1">
          <p15:clr>
            <a:srgbClr val="F26B43"/>
          </p15:clr>
        </p15:guide>
        <p15:guide id="86" orient="horz" pos="259" userDrawn="1">
          <p15:clr>
            <a:srgbClr val="F26B43"/>
          </p15:clr>
        </p15:guide>
        <p15:guide id="87" orient="horz" pos="394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6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9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airflow.apache.org/docs/apache-airflow/stable/core-concepts/dags.html" TargetMode="Externa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59E1688-DAB2-FD54-1A5E-DDAC79F7A4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1">
            <a:extLst>
              <a:ext uri="{FF2B5EF4-FFF2-40B4-BE49-F238E27FC236}">
                <a16:creationId xmlns:a16="http://schemas.microsoft.com/office/drawing/2014/main" id="{260626FA-58FA-2AF1-C982-6FD94EA495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34106" y="4872682"/>
            <a:ext cx="7289625" cy="817562"/>
          </a:xfrm>
        </p:spPr>
        <p:txBody>
          <a:bodyPr/>
          <a:lstStyle/>
          <a:p>
            <a:pPr>
              <a:spcAft>
                <a:spcPts val="300"/>
              </a:spcAft>
            </a:pPr>
            <a:r>
              <a:rPr lang="ru-RU" b="1" dirty="0"/>
              <a:t>Антон Шишков</a:t>
            </a:r>
          </a:p>
          <a:p>
            <a:pPr>
              <a:spcAft>
                <a:spcPts val="300"/>
              </a:spcAft>
            </a:pPr>
            <a:r>
              <a:rPr lang="ru-RU" dirty="0">
                <a:solidFill>
                  <a:schemeClr val="accent2">
                    <a:lumMod val="75000"/>
                  </a:schemeClr>
                </a:solidFill>
              </a:rPr>
              <a:t>Разработчик информационных систем</a:t>
            </a:r>
          </a:p>
          <a:p>
            <a:pPr>
              <a:spcAft>
                <a:spcPts val="300"/>
              </a:spcAft>
            </a:pPr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972CE7F0-A83A-2B9B-4487-4A87C6AB32E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pache Airflow</a:t>
            </a: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174215B-62F3-E5F6-0B10-C372123075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62323" y="4765314"/>
            <a:ext cx="783205" cy="782324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8CB6D45-7822-8C75-69E6-4B44BA8B06C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304"/>
          <a:stretch/>
        </p:blipFill>
        <p:spPr>
          <a:xfrm>
            <a:off x="8884682" y="3512561"/>
            <a:ext cx="2912366" cy="2767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2877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1091A2CD-CE22-6EB6-78CC-A69B0DA5D61C}"/>
              </a:ext>
            </a:extLst>
          </p:cNvPr>
          <p:cNvSpPr/>
          <p:nvPr/>
        </p:nvSpPr>
        <p:spPr>
          <a:xfrm>
            <a:off x="2030231" y="1251911"/>
            <a:ext cx="8129954" cy="4354176"/>
          </a:xfrm>
          <a:prstGeom prst="roundRect">
            <a:avLst>
              <a:gd name="adj" fmla="val 3744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21E79FB-61B6-F8B3-D21E-C1AAC0A90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10</a:t>
            </a:fld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EB26A058-B1FE-B92E-52F8-842C19564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fakerApi</a:t>
            </a:r>
            <a:r>
              <a:rPr lang="en" dirty="0"/>
              <a:t>. </a:t>
            </a:r>
            <a:r>
              <a:rPr lang="en" dirty="0" err="1"/>
              <a:t>Dockerfile</a:t>
            </a:r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04F0AC7-44AC-6632-104D-91573DD8C8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008" y="1371374"/>
            <a:ext cx="7772400" cy="411524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1366444-BF30-C1FD-BB68-CAA94A783CA6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ockerfile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700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48CBB0-57D1-D091-F525-EBF1B14589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98BAA7BE-F56C-3567-CE3E-638D5A0B00A6}"/>
              </a:ext>
            </a:extLst>
          </p:cNvPr>
          <p:cNvSpPr/>
          <p:nvPr/>
        </p:nvSpPr>
        <p:spPr>
          <a:xfrm>
            <a:off x="3236431" y="1251911"/>
            <a:ext cx="5717551" cy="4354176"/>
          </a:xfrm>
          <a:prstGeom prst="roundRect">
            <a:avLst>
              <a:gd name="adj" fmla="val 3744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C24F1D5-C8D6-F45B-B420-B839CEE655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11</a:t>
            </a:fld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40C1E7B9-4A68-611C-A313-49EA88A7C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fakerApi</a:t>
            </a:r>
            <a:r>
              <a:rPr lang="en" dirty="0"/>
              <a:t>. Models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968457-B4F0-8A04-3911-F87214A82026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odels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7F7D6FB-F90E-8C2F-997C-D0D68F80FB1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3076" b="3569"/>
          <a:stretch/>
        </p:blipFill>
        <p:spPr>
          <a:xfrm>
            <a:off x="3407493" y="1396602"/>
            <a:ext cx="5375429" cy="4064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174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641569-228F-E9BC-D8C2-192036F453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69AFF92E-250D-A053-FF94-1D52632C7537}"/>
              </a:ext>
            </a:extLst>
          </p:cNvPr>
          <p:cNvSpPr/>
          <p:nvPr/>
        </p:nvSpPr>
        <p:spPr>
          <a:xfrm>
            <a:off x="2785593" y="1251911"/>
            <a:ext cx="6644157" cy="4354176"/>
          </a:xfrm>
          <a:prstGeom prst="roundRect">
            <a:avLst>
              <a:gd name="adj" fmla="val 3744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0E828D5-F10A-B271-BF83-B0562B0812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8022" y="1251912"/>
            <a:ext cx="6051456" cy="4354176"/>
          </a:xfrm>
          <a:prstGeom prst="rect">
            <a:avLst/>
          </a:prstGeom>
        </p:spPr>
      </p:pic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EDBE474-5308-52ED-27BD-371DCA8409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12</a:t>
            </a:fld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CAA80D15-8CE7-ABFB-25BD-8640F3D636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fakerApi</a:t>
            </a:r>
            <a:r>
              <a:rPr lang="en" dirty="0"/>
              <a:t>. Handlers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1E30124-9A96-3FB0-094D-A1E376A1AA64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ndlers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999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37AA37-8EF1-3CA8-2A3A-29FA5CB8C3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2106D7F9-271D-2F18-894C-7BC1523141DB}"/>
              </a:ext>
            </a:extLst>
          </p:cNvPr>
          <p:cNvSpPr/>
          <p:nvPr/>
        </p:nvSpPr>
        <p:spPr>
          <a:xfrm>
            <a:off x="3252651" y="1251911"/>
            <a:ext cx="5708469" cy="4354176"/>
          </a:xfrm>
          <a:prstGeom prst="roundRect">
            <a:avLst>
              <a:gd name="adj" fmla="val 3744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1722BCE-5AC3-D76F-83EA-71D73FBCCB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13</a:t>
            </a:fld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3DD1CDE5-2686-13CD-AAC4-9328790AA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fakerApi</a:t>
            </a:r>
            <a:r>
              <a:rPr lang="en" dirty="0"/>
              <a:t>. Main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70DE1B-0FB9-DC95-623C-32C47CEBFDBD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in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6301315-2434-4602-6D54-F2579E877F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27119" y="1265229"/>
            <a:ext cx="5137761" cy="434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007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000" t="-1000" r="-1000" b="-1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6CA65DC-BFC1-B77B-E799-EE47289DCD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C6C61D-BC50-B1A3-5D29-0923D1EB2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1744" y="3884017"/>
            <a:ext cx="7588506" cy="1560179"/>
          </a:xfrm>
        </p:spPr>
        <p:txBody>
          <a:bodyPr/>
          <a:lstStyle/>
          <a:p>
            <a:pPr algn="ctr"/>
            <a:r>
              <a:rPr lang="ru-RU" sz="4400" dirty="0"/>
              <a:t>Поднимем </a:t>
            </a:r>
            <a:r>
              <a:rPr lang="en" sz="4400" dirty="0"/>
              <a:t>Postgres, </a:t>
            </a:r>
            <a:r>
              <a:rPr lang="en" sz="4400" dirty="0" err="1"/>
              <a:t>Clickhouse</a:t>
            </a:r>
            <a:r>
              <a:rPr lang="en" sz="4400" dirty="0"/>
              <a:t>, </a:t>
            </a:r>
            <a:r>
              <a:rPr lang="en" sz="4400" dirty="0" err="1"/>
              <a:t>Minio</a:t>
            </a:r>
            <a:r>
              <a:rPr lang="en" sz="4400" dirty="0"/>
              <a:t> </a:t>
            </a:r>
            <a:r>
              <a:rPr lang="ru-RU" sz="4400" dirty="0"/>
              <a:t>и </a:t>
            </a:r>
            <a:r>
              <a:rPr lang="en" sz="4400" dirty="0" err="1"/>
              <a:t>fakerApi</a:t>
            </a:r>
            <a:endParaRPr lang="ru-RU" sz="4400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CF86131-37CF-0E0C-53D1-F16B550766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96A3AE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96A3AE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115D9CB5-B153-39B2-DEEE-E433FC5478CB}"/>
              </a:ext>
            </a:extLst>
          </p:cNvPr>
          <p:cNvGrpSpPr/>
          <p:nvPr/>
        </p:nvGrpSpPr>
        <p:grpSpPr>
          <a:xfrm rot="20946755">
            <a:off x="4485247" y="2129477"/>
            <a:ext cx="3221501" cy="922870"/>
            <a:chOff x="4485247" y="2129477"/>
            <a:chExt cx="3221501" cy="922870"/>
          </a:xfrm>
        </p:grpSpPr>
        <p:sp>
          <p:nvSpPr>
            <p:cNvPr id="8" name="Скругленный прямоугольник 7">
              <a:extLst>
                <a:ext uri="{FF2B5EF4-FFF2-40B4-BE49-F238E27FC236}">
                  <a16:creationId xmlns:a16="http://schemas.microsoft.com/office/drawing/2014/main" id="{618931DF-8EB5-201B-4A2A-2B4084F6CCFF}"/>
                </a:ext>
              </a:extLst>
            </p:cNvPr>
            <p:cNvSpPr/>
            <p:nvPr/>
          </p:nvSpPr>
          <p:spPr>
            <a:xfrm>
              <a:off x="4485247" y="2129477"/>
              <a:ext cx="3221501" cy="92287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97652CA5-A3C8-6385-1825-0F17858F9F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2383" t="35818" r="12244" b="36442"/>
            <a:stretch/>
          </p:blipFill>
          <p:spPr>
            <a:xfrm>
              <a:off x="4625191" y="2229305"/>
              <a:ext cx="2941611" cy="7232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7711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AEC4FA-A030-FB5D-A34D-81D9E26D86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D9504DE8-79B3-4AF2-F183-CD334978E319}"/>
              </a:ext>
            </a:extLst>
          </p:cNvPr>
          <p:cNvSpPr/>
          <p:nvPr/>
        </p:nvSpPr>
        <p:spPr>
          <a:xfrm>
            <a:off x="3616036" y="1251911"/>
            <a:ext cx="4987638" cy="4354176"/>
          </a:xfrm>
          <a:prstGeom prst="roundRect">
            <a:avLst>
              <a:gd name="adj" fmla="val 3744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ECC5A17-B341-DD2B-8BF8-35F8B9EEE7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411BAB28-EA9E-3F71-3853-608F8549B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Postgres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C54D5D8-47CF-3BEE-656A-6629681FAB18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0" i="0" u="none" strike="noStrike" kern="1200" cap="none" spc="0" normalizeH="0" baseline="0" noProof="0" dirty="0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tgres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B61C43B-9ED7-BC4A-0EE1-4F9387F4FF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61442" y="1251911"/>
            <a:ext cx="4469115" cy="4354176"/>
          </a:xfrm>
          <a:prstGeom prst="rect">
            <a:avLst/>
          </a:prstGeom>
        </p:spPr>
      </p:pic>
      <p:sp>
        <p:nvSpPr>
          <p:cNvPr id="8" name="Овал 7">
            <a:extLst>
              <a:ext uri="{FF2B5EF4-FFF2-40B4-BE49-F238E27FC236}">
                <a16:creationId xmlns:a16="http://schemas.microsoft.com/office/drawing/2014/main" id="{55F70D40-6763-4639-CDAB-BF78F5C502AE}"/>
              </a:ext>
            </a:extLst>
          </p:cNvPr>
          <p:cNvSpPr/>
          <p:nvPr/>
        </p:nvSpPr>
        <p:spPr>
          <a:xfrm>
            <a:off x="10521863" y="416419"/>
            <a:ext cx="1046413" cy="104641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094FD25-96A9-00C7-5447-67D957F455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11147" y="444419"/>
            <a:ext cx="1039505" cy="1012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30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F984A5-3FD3-6D79-5917-615041CC66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049D75A7-D3FC-FE5A-455F-198D0AD4E41B}"/>
              </a:ext>
            </a:extLst>
          </p:cNvPr>
          <p:cNvSpPr/>
          <p:nvPr/>
        </p:nvSpPr>
        <p:spPr>
          <a:xfrm>
            <a:off x="3528280" y="1251911"/>
            <a:ext cx="5133853" cy="4354176"/>
          </a:xfrm>
          <a:prstGeom prst="roundRect">
            <a:avLst>
              <a:gd name="adj" fmla="val 3744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85C57ED-E80E-A83D-63B3-F67BE9A091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9A2E19AE-8A89-CE20-AF27-3BC159D88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Clickhouse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4DDE69-F1EB-BEF7-4553-CFA055518E0B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ckhouse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F90657FD-225C-DF1A-B217-DB988ABDCF90}"/>
              </a:ext>
            </a:extLst>
          </p:cNvPr>
          <p:cNvSpPr/>
          <p:nvPr/>
        </p:nvSpPr>
        <p:spPr>
          <a:xfrm>
            <a:off x="10521863" y="416419"/>
            <a:ext cx="1046413" cy="104641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53E053B-8DB9-2779-E657-5FA98EE4D4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442" y="537728"/>
            <a:ext cx="825518" cy="803794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E6EB612-C51F-3A72-DD46-7D5AADDE28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05356" y="1258970"/>
            <a:ext cx="4779703" cy="4347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311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E46D65-73C8-F2CC-A812-1B03DC71F9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3FA72CA6-4A56-432C-FA7A-A66B1106AF22}"/>
              </a:ext>
            </a:extLst>
          </p:cNvPr>
          <p:cNvSpPr/>
          <p:nvPr/>
        </p:nvSpPr>
        <p:spPr>
          <a:xfrm>
            <a:off x="2661608" y="1251911"/>
            <a:ext cx="6867200" cy="4354176"/>
          </a:xfrm>
          <a:prstGeom prst="roundRect">
            <a:avLst>
              <a:gd name="adj" fmla="val 3744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3628CE3-1E7A-13F8-35F1-221B23CD9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95592DDA-0D67-261E-4ACB-458486B94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Minio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F623FE3-2EA0-DA00-C449-345C70C98DEA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io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656D6727-0320-6A7C-BF7A-2C04D8092124}"/>
              </a:ext>
            </a:extLst>
          </p:cNvPr>
          <p:cNvSpPr/>
          <p:nvPr/>
        </p:nvSpPr>
        <p:spPr>
          <a:xfrm>
            <a:off x="10521863" y="416419"/>
            <a:ext cx="1046413" cy="104641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DC758E5-96AB-971A-4930-9650F9C629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1866" y="1251912"/>
            <a:ext cx="6508267" cy="4354176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52AD77B-A7ED-0AC7-C166-71000F09E8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0711" y="468088"/>
            <a:ext cx="628716" cy="943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481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C9ADB8-AD65-712F-3509-9BD2D314FE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43EA2BBF-D19E-F244-0D45-DBD7416BF842}"/>
              </a:ext>
            </a:extLst>
          </p:cNvPr>
          <p:cNvSpPr/>
          <p:nvPr/>
        </p:nvSpPr>
        <p:spPr>
          <a:xfrm>
            <a:off x="2661608" y="1251911"/>
            <a:ext cx="6867200" cy="4354176"/>
          </a:xfrm>
          <a:prstGeom prst="roundRect">
            <a:avLst>
              <a:gd name="adj" fmla="val 3744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FE4B92A-0AFD-784C-24AF-C2CC54806D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F4EE08DA-24E8-FB0B-6AEB-0BFDE1B842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fakerApi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F4BF3A-6669-B592-AF9D-B2A3A50F15A3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kerApi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6B37132A-0993-1947-A20C-E6A7119A6099}"/>
              </a:ext>
            </a:extLst>
          </p:cNvPr>
          <p:cNvSpPr/>
          <p:nvPr/>
        </p:nvSpPr>
        <p:spPr>
          <a:xfrm>
            <a:off x="10521863" y="416419"/>
            <a:ext cx="1046413" cy="104641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4FAB60C-7012-C811-AB90-3ACD17E735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79083" y="1301155"/>
            <a:ext cx="5203462" cy="4255688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C7891E4E-0769-CCC9-EBCB-9FE4B02DB7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9535" y="684091"/>
            <a:ext cx="511068" cy="51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006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98E3DA-1165-92EE-0363-55A525F4FE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0EFA69F-36EE-2DF2-FF82-F5471848575B}"/>
              </a:ext>
            </a:extLst>
          </p:cNvPr>
          <p:cNvSpPr/>
          <p:nvPr/>
        </p:nvSpPr>
        <p:spPr>
          <a:xfrm>
            <a:off x="7004050" y="0"/>
            <a:ext cx="51879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0DFA853-DF0B-91E4-677F-9960E7B432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C61C0595-78FE-3732-B891-5414F3C2E3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азовые концепции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DBB34E3B-E37B-BE3F-4A48-F017940E64AA}"/>
              </a:ext>
            </a:extLst>
          </p:cNvPr>
          <p:cNvGrpSpPr/>
          <p:nvPr/>
        </p:nvGrpSpPr>
        <p:grpSpPr>
          <a:xfrm>
            <a:off x="697651" y="1602225"/>
            <a:ext cx="5279577" cy="461665"/>
            <a:chOff x="697651" y="4241372"/>
            <a:chExt cx="5279577" cy="461665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EE3BB2B-9178-36F7-FABF-53F53CD3F3B3}"/>
                </a:ext>
              </a:extLst>
            </p:cNvPr>
            <p:cNvSpPr txBox="1"/>
            <p:nvPr/>
          </p:nvSpPr>
          <p:spPr>
            <a:xfrm>
              <a:off x="1008928" y="4241372"/>
              <a:ext cx="496830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G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Рисунок 15">
              <a:extLst>
                <a:ext uri="{FF2B5EF4-FFF2-40B4-BE49-F238E27FC236}">
                  <a16:creationId xmlns:a16="http://schemas.microsoft.com/office/drawing/2014/main" id="{85A1D087-508F-4D56-4D74-29854ABAAFF2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BA8B166B-3AFB-3767-CD72-C54D9A97AF26}"/>
              </a:ext>
            </a:extLst>
          </p:cNvPr>
          <p:cNvGrpSpPr/>
          <p:nvPr/>
        </p:nvGrpSpPr>
        <p:grpSpPr>
          <a:xfrm>
            <a:off x="697651" y="2299027"/>
            <a:ext cx="5279577" cy="461665"/>
            <a:chOff x="697651" y="4232791"/>
            <a:chExt cx="5279577" cy="46166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8443CB1-E844-F8BC-1A3A-8AB6B40862EF}"/>
                </a:ext>
              </a:extLst>
            </p:cNvPr>
            <p:cNvSpPr txBox="1"/>
            <p:nvPr/>
          </p:nvSpPr>
          <p:spPr>
            <a:xfrm>
              <a:off x="1008928" y="4232791"/>
              <a:ext cx="496830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ummyOperator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Рисунок 15">
              <a:extLst>
                <a:ext uri="{FF2B5EF4-FFF2-40B4-BE49-F238E27FC236}">
                  <a16:creationId xmlns:a16="http://schemas.microsoft.com/office/drawing/2014/main" id="{44E67166-3C82-1E65-A91D-D0465BD4F414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485B9D6A-D29B-6975-B6E3-2617103EF6B3}"/>
              </a:ext>
            </a:extLst>
          </p:cNvPr>
          <p:cNvGrpSpPr/>
          <p:nvPr/>
        </p:nvGrpSpPr>
        <p:grpSpPr>
          <a:xfrm>
            <a:off x="695226" y="3005886"/>
            <a:ext cx="5279577" cy="461665"/>
            <a:chOff x="697651" y="4234267"/>
            <a:chExt cx="5279577" cy="461665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1412C9B-833B-BEBD-2C35-B997C070BBCE}"/>
                </a:ext>
              </a:extLst>
            </p:cNvPr>
            <p:cNvSpPr txBox="1"/>
            <p:nvPr/>
          </p:nvSpPr>
          <p:spPr>
            <a:xfrm>
              <a:off x="1008928" y="4234267"/>
              <a:ext cx="496830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ashOperator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Рисунок 15">
              <a:extLst>
                <a:ext uri="{FF2B5EF4-FFF2-40B4-BE49-F238E27FC236}">
                  <a16:creationId xmlns:a16="http://schemas.microsoft.com/office/drawing/2014/main" id="{9CD195B8-E270-60AB-F5F4-FD6B4C3E3676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96B5EA34-8065-31B6-41BA-A3C6226FFDA0}"/>
              </a:ext>
            </a:extLst>
          </p:cNvPr>
          <p:cNvGrpSpPr/>
          <p:nvPr/>
        </p:nvGrpSpPr>
        <p:grpSpPr>
          <a:xfrm>
            <a:off x="695226" y="3715843"/>
            <a:ext cx="5279577" cy="461665"/>
            <a:chOff x="697651" y="4235293"/>
            <a:chExt cx="5279577" cy="461665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AF4AEFA-7432-7A03-2F2E-4715E0AEAB41}"/>
                </a:ext>
              </a:extLst>
            </p:cNvPr>
            <p:cNvSpPr txBox="1"/>
            <p:nvPr/>
          </p:nvSpPr>
          <p:spPr>
            <a:xfrm>
              <a:off x="1008928" y="4235293"/>
              <a:ext cx="496830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ythonOperator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Рисунок 15">
              <a:extLst>
                <a:ext uri="{FF2B5EF4-FFF2-40B4-BE49-F238E27FC236}">
                  <a16:creationId xmlns:a16="http://schemas.microsoft.com/office/drawing/2014/main" id="{972A338E-9458-ED2B-0308-C60F9A34812B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BA88FD05-4A22-1DEB-25AB-704D243144D3}"/>
              </a:ext>
            </a:extLst>
          </p:cNvPr>
          <p:cNvGrpSpPr/>
          <p:nvPr/>
        </p:nvGrpSpPr>
        <p:grpSpPr>
          <a:xfrm>
            <a:off x="695226" y="4415176"/>
            <a:ext cx="5279577" cy="461665"/>
            <a:chOff x="697651" y="4232791"/>
            <a:chExt cx="5279577" cy="461665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905AC2D-8F5D-8565-C91E-9398309441E2}"/>
                </a:ext>
              </a:extLst>
            </p:cNvPr>
            <p:cNvSpPr txBox="1"/>
            <p:nvPr/>
          </p:nvSpPr>
          <p:spPr>
            <a:xfrm>
              <a:off x="1008928" y="4232791"/>
              <a:ext cx="496830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QLSensor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Рисунок 15">
              <a:extLst>
                <a:ext uri="{FF2B5EF4-FFF2-40B4-BE49-F238E27FC236}">
                  <a16:creationId xmlns:a16="http://schemas.microsoft.com/office/drawing/2014/main" id="{39A3E565-AA91-834E-82C4-BC79D5514484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0D164B23-0C9C-22F9-9374-8466C85DB128}"/>
              </a:ext>
            </a:extLst>
          </p:cNvPr>
          <p:cNvGrpSpPr/>
          <p:nvPr/>
        </p:nvGrpSpPr>
        <p:grpSpPr>
          <a:xfrm>
            <a:off x="695226" y="5117011"/>
            <a:ext cx="5279577" cy="461665"/>
            <a:chOff x="697651" y="4232791"/>
            <a:chExt cx="5279577" cy="461665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D02C859-5929-92DA-D04E-39D581D5DB88}"/>
                </a:ext>
              </a:extLst>
            </p:cNvPr>
            <p:cNvSpPr txBox="1"/>
            <p:nvPr/>
          </p:nvSpPr>
          <p:spPr>
            <a:xfrm>
              <a:off x="1008928" y="4232791"/>
              <a:ext cx="496830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ternalTaskSensor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Рисунок 15">
              <a:extLst>
                <a:ext uri="{FF2B5EF4-FFF2-40B4-BE49-F238E27FC236}">
                  <a16:creationId xmlns:a16="http://schemas.microsoft.com/office/drawing/2014/main" id="{92885021-B967-6F1E-604B-6343F234ACFB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7EAFD93-9408-01BF-46B8-96009D10BA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5288" y="1298168"/>
            <a:ext cx="4600634" cy="4600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908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93F7438-6913-5D5F-1A1E-DC3D6FC12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2</a:t>
            </a:fld>
            <a:endParaRPr lang="ru-RU"/>
          </a:p>
        </p:txBody>
      </p:sp>
      <p:sp>
        <p:nvSpPr>
          <p:cNvPr id="6" name="Прямоугольник: скругленные углы 3">
            <a:extLst>
              <a:ext uri="{FF2B5EF4-FFF2-40B4-BE49-F238E27FC236}">
                <a16:creationId xmlns:a16="http://schemas.microsoft.com/office/drawing/2014/main" id="{19D8BF8D-14A7-E745-2AD1-E2D724E642F9}"/>
              </a:ext>
            </a:extLst>
          </p:cNvPr>
          <p:cNvSpPr/>
          <p:nvPr/>
        </p:nvSpPr>
        <p:spPr>
          <a:xfrm>
            <a:off x="635001" y="411163"/>
            <a:ext cx="3638867" cy="5851525"/>
          </a:xfrm>
          <a:prstGeom prst="roundRect">
            <a:avLst>
              <a:gd name="adj" fmla="val 9687"/>
            </a:avLst>
          </a:prstGeom>
          <a:blipFill>
            <a:blip r:embed="rId2"/>
            <a:srcRect/>
            <a:stretch>
              <a:fillRect t="-352" b="-35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: скругленные углы 9">
            <a:extLst>
              <a:ext uri="{FF2B5EF4-FFF2-40B4-BE49-F238E27FC236}">
                <a16:creationId xmlns:a16="http://schemas.microsoft.com/office/drawing/2014/main" id="{6AE30EF2-F467-1AB4-D82D-ECB999CD7F67}"/>
              </a:ext>
            </a:extLst>
          </p:cNvPr>
          <p:cNvSpPr/>
          <p:nvPr/>
        </p:nvSpPr>
        <p:spPr>
          <a:xfrm>
            <a:off x="843818" y="5230678"/>
            <a:ext cx="3237931" cy="832880"/>
          </a:xfrm>
          <a:prstGeom prst="roundRect">
            <a:avLst>
              <a:gd name="adj" fmla="val 2128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490ED53-2FDB-A0FB-AD5B-33008AC47BE0}"/>
              </a:ext>
            </a:extLst>
          </p:cNvPr>
          <p:cNvSpPr txBox="1"/>
          <p:nvPr/>
        </p:nvSpPr>
        <p:spPr>
          <a:xfrm>
            <a:off x="1455651" y="5435717"/>
            <a:ext cx="2641600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@</a:t>
            </a:r>
            <a:r>
              <a:rPr lang="en-US" dirty="0" err="1">
                <a:solidFill>
                  <a:schemeClr val="tx2"/>
                </a:solidFill>
                <a:latin typeface="Arial"/>
              </a:rPr>
              <a:t>rushawx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Рисунок 849">
            <a:extLst>
              <a:ext uri="{FF2B5EF4-FFF2-40B4-BE49-F238E27FC236}">
                <a16:creationId xmlns:a16="http://schemas.microsoft.com/office/drawing/2014/main" id="{3DB370B8-3EA1-9A66-D60B-F5C20608638E}"/>
              </a:ext>
            </a:extLst>
          </p:cNvPr>
          <p:cNvSpPr/>
          <p:nvPr/>
        </p:nvSpPr>
        <p:spPr>
          <a:xfrm>
            <a:off x="1094558" y="5512301"/>
            <a:ext cx="329550" cy="269633"/>
          </a:xfrm>
          <a:custGeom>
            <a:avLst/>
            <a:gdLst>
              <a:gd name="connsiteX0" fmla="*/ 14406 w 209549"/>
              <a:gd name="connsiteY0" fmla="*/ 73809 h 171450"/>
              <a:gd name="connsiteX1" fmla="*/ 126933 w 209549"/>
              <a:gd name="connsiteY1" fmla="*/ 25956 h 171450"/>
              <a:gd name="connsiteX2" fmla="*/ 198911 w 209549"/>
              <a:gd name="connsiteY2" fmla="*/ 1 h 171450"/>
              <a:gd name="connsiteX3" fmla="*/ 206388 w 209549"/>
              <a:gd name="connsiteY3" fmla="*/ 2217 h 171450"/>
              <a:gd name="connsiteX4" fmla="*/ 209134 w 209549"/>
              <a:gd name="connsiteY4" fmla="*/ 7376 h 171450"/>
              <a:gd name="connsiteX5" fmla="*/ 209457 w 209549"/>
              <a:gd name="connsiteY5" fmla="*/ 14876 h 171450"/>
              <a:gd name="connsiteX6" fmla="*/ 187596 w 209549"/>
              <a:gd name="connsiteY6" fmla="*/ 151834 h 171450"/>
              <a:gd name="connsiteX7" fmla="*/ 174409 w 209549"/>
              <a:gd name="connsiteY7" fmla="*/ 171365 h 171450"/>
              <a:gd name="connsiteX8" fmla="*/ 143842 w 209549"/>
              <a:gd name="connsiteY8" fmla="*/ 157030 h 171450"/>
              <a:gd name="connsiteX9" fmla="*/ 100781 w 209549"/>
              <a:gd name="connsiteY9" fmla="*/ 128473 h 171450"/>
              <a:gd name="connsiteX10" fmla="*/ 104937 w 209549"/>
              <a:gd name="connsiteY10" fmla="*/ 98134 h 171450"/>
              <a:gd name="connsiteX11" fmla="*/ 158105 w 209549"/>
              <a:gd name="connsiteY11" fmla="*/ 46864 h 171450"/>
              <a:gd name="connsiteX12" fmla="*/ 157206 w 209549"/>
              <a:gd name="connsiteY12" fmla="*/ 43496 h 171450"/>
              <a:gd name="connsiteX13" fmla="*/ 153212 w 209549"/>
              <a:gd name="connsiteY13" fmla="*/ 43114 h 171450"/>
              <a:gd name="connsiteX14" fmla="*/ 71822 w 209549"/>
              <a:gd name="connsiteY14" fmla="*/ 96224 h 171450"/>
              <a:gd name="connsiteX15" fmla="*/ 50897 w 209549"/>
              <a:gd name="connsiteY15" fmla="*/ 103856 h 171450"/>
              <a:gd name="connsiteX16" fmla="*/ 20902 w 209549"/>
              <a:gd name="connsiteY16" fmla="*/ 96848 h 171450"/>
              <a:gd name="connsiteX17" fmla="*/ 51 w 209549"/>
              <a:gd name="connsiteY17" fmla="*/ 84333 h 171450"/>
              <a:gd name="connsiteX18" fmla="*/ 14406 w 209549"/>
              <a:gd name="connsiteY18" fmla="*/ 73809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09549" h="171450">
                <a:moveTo>
                  <a:pt x="14406" y="73809"/>
                </a:moveTo>
                <a:cubicBezTo>
                  <a:pt x="70656" y="49613"/>
                  <a:pt x="108165" y="33662"/>
                  <a:pt x="126933" y="25956"/>
                </a:cubicBezTo>
                <a:cubicBezTo>
                  <a:pt x="180519" y="3951"/>
                  <a:pt x="191653" y="129"/>
                  <a:pt x="198911" y="1"/>
                </a:cubicBezTo>
                <a:cubicBezTo>
                  <a:pt x="200507" y="-25"/>
                  <a:pt x="204076" y="365"/>
                  <a:pt x="206388" y="2217"/>
                </a:cubicBezTo>
                <a:cubicBezTo>
                  <a:pt x="208340" y="3781"/>
                  <a:pt x="208878" y="5894"/>
                  <a:pt x="209134" y="7376"/>
                </a:cubicBezTo>
                <a:cubicBezTo>
                  <a:pt x="209391" y="8859"/>
                  <a:pt x="209711" y="12236"/>
                  <a:pt x="209457" y="14876"/>
                </a:cubicBezTo>
                <a:cubicBezTo>
                  <a:pt x="206553" y="44998"/>
                  <a:pt x="193988" y="118097"/>
                  <a:pt x="187596" y="151834"/>
                </a:cubicBezTo>
                <a:cubicBezTo>
                  <a:pt x="184891" y="166110"/>
                  <a:pt x="179565" y="170897"/>
                  <a:pt x="174409" y="171365"/>
                </a:cubicBezTo>
                <a:cubicBezTo>
                  <a:pt x="163204" y="172383"/>
                  <a:pt x="154695" y="164054"/>
                  <a:pt x="143842" y="157030"/>
                </a:cubicBezTo>
                <a:cubicBezTo>
                  <a:pt x="126860" y="146040"/>
                  <a:pt x="117265" y="139198"/>
                  <a:pt x="100781" y="128473"/>
                </a:cubicBezTo>
                <a:cubicBezTo>
                  <a:pt x="81730" y="116079"/>
                  <a:pt x="94080" y="109267"/>
                  <a:pt x="104937" y="98134"/>
                </a:cubicBezTo>
                <a:cubicBezTo>
                  <a:pt x="107778" y="95220"/>
                  <a:pt x="157149" y="50886"/>
                  <a:pt x="158105" y="46864"/>
                </a:cubicBezTo>
                <a:cubicBezTo>
                  <a:pt x="158225" y="46361"/>
                  <a:pt x="158335" y="44486"/>
                  <a:pt x="157206" y="43496"/>
                </a:cubicBezTo>
                <a:cubicBezTo>
                  <a:pt x="156079" y="42506"/>
                  <a:pt x="154414" y="42845"/>
                  <a:pt x="153212" y="43114"/>
                </a:cubicBezTo>
                <a:cubicBezTo>
                  <a:pt x="151508" y="43495"/>
                  <a:pt x="124378" y="61199"/>
                  <a:pt x="71822" y="96224"/>
                </a:cubicBezTo>
                <a:cubicBezTo>
                  <a:pt x="64121" y="101445"/>
                  <a:pt x="57146" y="103988"/>
                  <a:pt x="50897" y="103856"/>
                </a:cubicBezTo>
                <a:cubicBezTo>
                  <a:pt x="44007" y="103708"/>
                  <a:pt x="30754" y="100010"/>
                  <a:pt x="20902" y="96848"/>
                </a:cubicBezTo>
                <a:cubicBezTo>
                  <a:pt x="8819" y="92970"/>
                  <a:pt x="-786" y="90920"/>
                  <a:pt x="51" y="84333"/>
                </a:cubicBezTo>
                <a:cubicBezTo>
                  <a:pt x="486" y="80903"/>
                  <a:pt x="5271" y="77395"/>
                  <a:pt x="14406" y="73809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68D5D4BE-E3F2-6446-334E-CD885D623218}"/>
              </a:ext>
            </a:extLst>
          </p:cNvPr>
          <p:cNvSpPr/>
          <p:nvPr/>
        </p:nvSpPr>
        <p:spPr>
          <a:xfrm>
            <a:off x="4707437" y="3099196"/>
            <a:ext cx="6857507" cy="3156829"/>
          </a:xfrm>
          <a:prstGeom prst="roundRect">
            <a:avLst>
              <a:gd name="adj" fmla="val 8849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A75BFA2-DC5F-5453-EC96-E12612FD4481}"/>
              </a:ext>
            </a:extLst>
          </p:cNvPr>
          <p:cNvSpPr txBox="1"/>
          <p:nvPr/>
        </p:nvSpPr>
        <p:spPr>
          <a:xfrm>
            <a:off x="4707438" y="699135"/>
            <a:ext cx="4355880" cy="14126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ct val="85000"/>
              </a:lnSpc>
              <a:spcBef>
                <a:spcPts val="84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400" b="1" dirty="0">
                <a:solidFill>
                  <a:srgbClr val="022B44"/>
                </a:solidFill>
                <a:latin typeface="Arial"/>
              </a:rPr>
              <a:t>Антон Шишков</a:t>
            </a:r>
            <a:endParaRPr kumimoji="0" lang="ru-RU" sz="5400" b="1" i="0" u="none" strike="noStrike" kern="1200" cap="none" spc="0" normalizeH="0" baseline="0" noProof="0" dirty="0">
              <a:ln>
                <a:noFill/>
              </a:ln>
              <a:solidFill>
                <a:srgbClr val="022B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01DE1E0-E4CC-FF46-6992-A8691152114A}"/>
              </a:ext>
            </a:extLst>
          </p:cNvPr>
          <p:cNvSpPr txBox="1"/>
          <p:nvPr/>
        </p:nvSpPr>
        <p:spPr>
          <a:xfrm>
            <a:off x="4601823" y="2231898"/>
            <a:ext cx="58273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3500" marR="0" lvl="0" indent="0" algn="l" defTabSz="121916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srgbClr val="005A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GT Eesti Pro Display Regular"/>
              </a:rPr>
              <a:t>Разработчик информационных систем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4ED458E9-B40C-605B-C803-54869CB0C26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4715" y="314903"/>
            <a:ext cx="2212803" cy="2212803"/>
          </a:xfrm>
          <a:prstGeom prst="rect">
            <a:avLst/>
          </a:prstGeom>
        </p:spPr>
      </p:pic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0811A624-A640-18F0-27CF-248FA9B5C962}"/>
              </a:ext>
            </a:extLst>
          </p:cNvPr>
          <p:cNvGrpSpPr/>
          <p:nvPr/>
        </p:nvGrpSpPr>
        <p:grpSpPr>
          <a:xfrm>
            <a:off x="5005657" y="3534299"/>
            <a:ext cx="5577454" cy="332335"/>
            <a:chOff x="5158895" y="3817101"/>
            <a:chExt cx="5577454" cy="332335"/>
          </a:xfrm>
        </p:grpSpPr>
        <p:sp>
          <p:nvSpPr>
            <p:cNvPr id="16" name="Ведущий разработчик информационных систем. Отдел MessageBus, группа шины данных">
              <a:extLst>
                <a:ext uri="{FF2B5EF4-FFF2-40B4-BE49-F238E27FC236}">
                  <a16:creationId xmlns:a16="http://schemas.microsoft.com/office/drawing/2014/main" id="{6C958172-59A5-24B3-A44E-409EA574624D}"/>
                </a:ext>
              </a:extLst>
            </p:cNvPr>
            <p:cNvSpPr txBox="1"/>
            <p:nvPr/>
          </p:nvSpPr>
          <p:spPr>
            <a:xfrm>
              <a:off x="5376484" y="3817101"/>
              <a:ext cx="5359865" cy="332335"/>
            </a:xfrm>
            <a:prstGeom prst="rect">
              <a:avLst/>
            </a:prstGeom>
            <a:noFill/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5400" tIns="25400" rIns="25400" bIns="25400">
              <a:spAutoFit/>
            </a:bodyPr>
            <a:lstStyle>
              <a:lvl1pPr marL="1270000" indent="-1143000" defTabSz="825500">
                <a:lnSpc>
                  <a:spcPct val="110000"/>
                </a:lnSpc>
                <a:buClr>
                  <a:schemeClr val="accent2">
                    <a:hueOff val="472512"/>
                  </a:schemeClr>
                </a:buClr>
                <a:buSzPct val="123000"/>
                <a:buChar char="•"/>
                <a:defRPr sz="4200">
                  <a:latin typeface="+mn-lt"/>
                  <a:ea typeface="+mn-ea"/>
                  <a:cs typeface="+mn-cs"/>
                  <a:sym typeface="GT Eesti Pro Display Light"/>
                </a:defRPr>
              </a:lvl1pPr>
            </a:lstStyle>
            <a:p>
              <a:pPr marL="63500" marR="0" lvl="0" indent="0" algn="l" defTabSz="412750" rtl="0" eaLnBrk="1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ADF52">
                    <a:hueOff val="472512"/>
                  </a:srgbClr>
                </a:buClr>
                <a:buSzPct val="123000"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Пишу сервисы на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Python</a:t>
              </a:r>
              <a:r>
                <a:rPr kumimoji="0" lang="e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,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Golang</a:t>
              </a:r>
              <a:r>
                <a:rPr kumimoji="0" lang="e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,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SQL</a:t>
              </a:r>
            </a:p>
          </p:txBody>
        </p:sp>
        <p:sp>
          <p:nvSpPr>
            <p:cNvPr id="17" name="Рисунок 51">
              <a:extLst>
                <a:ext uri="{FF2B5EF4-FFF2-40B4-BE49-F238E27FC236}">
                  <a16:creationId xmlns:a16="http://schemas.microsoft.com/office/drawing/2014/main" id="{72AD1873-6DFF-2AE0-513E-362C728E96F9}"/>
                </a:ext>
              </a:extLst>
            </p:cNvPr>
            <p:cNvSpPr/>
            <p:nvPr/>
          </p:nvSpPr>
          <p:spPr>
            <a:xfrm>
              <a:off x="5158895" y="3925409"/>
              <a:ext cx="159462" cy="159462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E8FD2699-DA3A-D9BF-9A68-721441508D43}"/>
              </a:ext>
            </a:extLst>
          </p:cNvPr>
          <p:cNvGrpSpPr/>
          <p:nvPr/>
        </p:nvGrpSpPr>
        <p:grpSpPr>
          <a:xfrm>
            <a:off x="5005657" y="4057193"/>
            <a:ext cx="6251272" cy="941733"/>
            <a:chOff x="5158895" y="4250689"/>
            <a:chExt cx="6251272" cy="941733"/>
          </a:xfrm>
        </p:grpSpPr>
        <p:sp>
          <p:nvSpPr>
            <p:cNvPr id="19" name="Ведущий разработчик информационных систем. Отдел MessageBus, группа шины данных">
              <a:extLst>
                <a:ext uri="{FF2B5EF4-FFF2-40B4-BE49-F238E27FC236}">
                  <a16:creationId xmlns:a16="http://schemas.microsoft.com/office/drawing/2014/main" id="{9FE3C0C3-2049-BFEF-ACCA-BE512C580C39}"/>
                </a:ext>
              </a:extLst>
            </p:cNvPr>
            <p:cNvSpPr txBox="1"/>
            <p:nvPr/>
          </p:nvSpPr>
          <p:spPr>
            <a:xfrm>
              <a:off x="5376484" y="4250689"/>
              <a:ext cx="6033683" cy="941733"/>
            </a:xfrm>
            <a:prstGeom prst="rect">
              <a:avLst/>
            </a:prstGeom>
            <a:noFill/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5400" tIns="25400" rIns="25400" bIns="25400">
              <a:spAutoFit/>
            </a:bodyPr>
            <a:lstStyle>
              <a:lvl1pPr marL="1270000" indent="-1143000" defTabSz="825500">
                <a:lnSpc>
                  <a:spcPct val="110000"/>
                </a:lnSpc>
                <a:buClr>
                  <a:schemeClr val="accent2">
                    <a:hueOff val="472512"/>
                  </a:schemeClr>
                </a:buClr>
                <a:buSzPct val="123000"/>
                <a:buChar char="•"/>
                <a:defRPr sz="4200">
                  <a:latin typeface="+mn-lt"/>
                  <a:ea typeface="+mn-ea"/>
                  <a:cs typeface="+mn-cs"/>
                  <a:sym typeface="GT Eesti Pro Display Light"/>
                </a:defRPr>
              </a:lvl1pPr>
            </a:lstStyle>
            <a:p>
              <a:pPr marL="63500" marR="0" lvl="0" indent="0" algn="l" defTabSz="412750" rtl="0" eaLnBrk="1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ADF52">
                    <a:hueOff val="472512"/>
                  </a:srgbClr>
                </a:buClr>
                <a:buSzPct val="123000"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Из инструментов также использую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Docker</a:t>
              </a:r>
              <a:r>
                <a:rPr kumimoji="0" lang="e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,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Airflow</a:t>
              </a:r>
              <a:r>
                <a:rPr kumimoji="0" lang="e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,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Postgres</a:t>
              </a:r>
              <a:r>
                <a:rPr kumimoji="0" lang="en" sz="1800" b="0" i="0" u="none" strike="noStrike" kern="0" cap="none" spc="0" normalizeH="0" baseline="0" noProof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, </a:t>
              </a:r>
              <a:r>
                <a:rPr kumimoji="0" lang="en" sz="1800" b="1" i="0" u="none" strike="noStrike" kern="0" cap="none" spc="0" normalizeH="0" baseline="0" noProof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Clickhouse</a:t>
              </a:r>
              <a:r>
                <a:rPr kumimoji="0" lang="e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,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 Redis</a:t>
              </a:r>
              <a:r>
                <a:rPr kumimoji="0" lang="e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,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Elasticsearch</a:t>
              </a:r>
              <a:r>
                <a:rPr kumimoji="0" lang="e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,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Superset</a:t>
              </a:r>
              <a:r>
                <a:rPr kumimoji="0" lang="e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,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Grafana</a:t>
              </a:r>
              <a:r>
                <a:rPr kumimoji="0" lang="e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,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Kafka</a:t>
              </a:r>
              <a:r>
                <a:rPr kumimoji="0" lang="e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, </a:t>
              </a:r>
              <a:r>
                <a:rPr kumimoji="0" lang="en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Spark</a:t>
              </a:r>
              <a:endParaRPr kumimoji="0" sz="1800" b="1" i="0" u="none" strike="noStrike" kern="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T Eesti Pro Display Light"/>
              </a:endParaRPr>
            </a:p>
          </p:txBody>
        </p:sp>
        <p:sp>
          <p:nvSpPr>
            <p:cNvPr id="20" name="Рисунок 51">
              <a:extLst>
                <a:ext uri="{FF2B5EF4-FFF2-40B4-BE49-F238E27FC236}">
                  <a16:creationId xmlns:a16="http://schemas.microsoft.com/office/drawing/2014/main" id="{CD024DBB-908A-88DC-A01F-419811B93871}"/>
                </a:ext>
              </a:extLst>
            </p:cNvPr>
            <p:cNvSpPr/>
            <p:nvPr/>
          </p:nvSpPr>
          <p:spPr>
            <a:xfrm>
              <a:off x="5158895" y="4356232"/>
              <a:ext cx="159462" cy="159462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35B81C66-43CA-60B5-8CF0-7F56A04CE086}"/>
              </a:ext>
            </a:extLst>
          </p:cNvPr>
          <p:cNvGrpSpPr/>
          <p:nvPr/>
        </p:nvGrpSpPr>
        <p:grpSpPr>
          <a:xfrm>
            <a:off x="5005657" y="5192908"/>
            <a:ext cx="4428090" cy="637034"/>
            <a:chOff x="5158895" y="4250689"/>
            <a:chExt cx="4428090" cy="637034"/>
          </a:xfrm>
        </p:grpSpPr>
        <p:sp>
          <p:nvSpPr>
            <p:cNvPr id="22" name="Ведущий разработчик информационных систем. Отдел MessageBus, группа шины данных">
              <a:extLst>
                <a:ext uri="{FF2B5EF4-FFF2-40B4-BE49-F238E27FC236}">
                  <a16:creationId xmlns:a16="http://schemas.microsoft.com/office/drawing/2014/main" id="{CDA94AF2-1AED-ADE8-CE7F-F23C52B7D9A8}"/>
                </a:ext>
              </a:extLst>
            </p:cNvPr>
            <p:cNvSpPr txBox="1"/>
            <p:nvPr/>
          </p:nvSpPr>
          <p:spPr>
            <a:xfrm>
              <a:off x="5376485" y="4250689"/>
              <a:ext cx="4210500" cy="637034"/>
            </a:xfrm>
            <a:prstGeom prst="rect">
              <a:avLst/>
            </a:prstGeom>
            <a:noFill/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5400" tIns="25400" rIns="25400" bIns="25400">
              <a:spAutoFit/>
            </a:bodyPr>
            <a:lstStyle>
              <a:lvl1pPr marL="1270000" indent="-1143000" defTabSz="825500">
                <a:lnSpc>
                  <a:spcPct val="110000"/>
                </a:lnSpc>
                <a:buClr>
                  <a:schemeClr val="accent2">
                    <a:hueOff val="472512"/>
                  </a:schemeClr>
                </a:buClr>
                <a:buSzPct val="123000"/>
                <a:buChar char="•"/>
                <a:defRPr sz="4200">
                  <a:latin typeface="+mn-lt"/>
                  <a:ea typeface="+mn-ea"/>
                  <a:cs typeface="+mn-cs"/>
                  <a:sym typeface="GT Eesti Pro Display Light"/>
                </a:defRPr>
              </a:lvl1pPr>
            </a:lstStyle>
            <a:p>
              <a:pPr marL="63500" marR="0" lvl="0" indent="0" algn="l" defTabSz="412750" rtl="0" eaLnBrk="1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ADF52">
                    <a:hueOff val="472512"/>
                  </a:srgbClr>
                </a:buClr>
                <a:buSzPct val="123000"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E111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T Eesti Pro Display Light"/>
                </a:rPr>
                <a:t>В свободное время занимаюсь бегом и образованием</a:t>
              </a:r>
              <a:endParaRPr kumimoji="0" lang="en" sz="1800" b="0" i="0" u="none" strike="noStrike" kern="0" cap="none" spc="0" normalizeH="0" baseline="0" noProof="0" dirty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T Eesti Pro Display Light"/>
              </a:endParaRPr>
            </a:p>
          </p:txBody>
        </p:sp>
        <p:sp>
          <p:nvSpPr>
            <p:cNvPr id="23" name="Рисунок 51">
              <a:extLst>
                <a:ext uri="{FF2B5EF4-FFF2-40B4-BE49-F238E27FC236}">
                  <a16:creationId xmlns:a16="http://schemas.microsoft.com/office/drawing/2014/main" id="{A1481AF1-ED7B-BC27-DBB1-739BA741AF2B}"/>
                </a:ext>
              </a:extLst>
            </p:cNvPr>
            <p:cNvSpPr/>
            <p:nvPr/>
          </p:nvSpPr>
          <p:spPr>
            <a:xfrm>
              <a:off x="5158895" y="4356232"/>
              <a:ext cx="159462" cy="159462"/>
            </a:xfrm>
            <a:custGeom>
              <a:avLst/>
              <a:gdLst>
                <a:gd name="connsiteX0" fmla="*/ 85725 w 171450"/>
                <a:gd name="connsiteY0" fmla="*/ 171450 h 171450"/>
                <a:gd name="connsiteX1" fmla="*/ 171450 w 171450"/>
                <a:gd name="connsiteY1" fmla="*/ 85725 h 171450"/>
                <a:gd name="connsiteX2" fmla="*/ 85725 w 171450"/>
                <a:gd name="connsiteY2" fmla="*/ 0 h 171450"/>
                <a:gd name="connsiteX3" fmla="*/ 0 w 171450"/>
                <a:gd name="connsiteY3" fmla="*/ 85725 h 171450"/>
                <a:gd name="connsiteX4" fmla="*/ 85725 w 171450"/>
                <a:gd name="connsiteY4" fmla="*/ 171450 h 171450"/>
                <a:gd name="connsiteX5" fmla="*/ 130560 w 171450"/>
                <a:gd name="connsiteY5" fmla="*/ 73410 h 171450"/>
                <a:gd name="connsiteX6" fmla="*/ 82935 w 171450"/>
                <a:gd name="connsiteY6" fmla="*/ 121035 h 171450"/>
                <a:gd name="connsiteX7" fmla="*/ 69465 w 171450"/>
                <a:gd name="connsiteY7" fmla="*/ 121035 h 171450"/>
                <a:gd name="connsiteX8" fmla="*/ 40890 w 171450"/>
                <a:gd name="connsiteY8" fmla="*/ 92460 h 171450"/>
                <a:gd name="connsiteX9" fmla="*/ 40890 w 171450"/>
                <a:gd name="connsiteY9" fmla="*/ 78990 h 171450"/>
                <a:gd name="connsiteX10" fmla="*/ 54360 w 171450"/>
                <a:gd name="connsiteY10" fmla="*/ 78990 h 171450"/>
                <a:gd name="connsiteX11" fmla="*/ 76200 w 171450"/>
                <a:gd name="connsiteY11" fmla="*/ 100830 h 171450"/>
                <a:gd name="connsiteX12" fmla="*/ 117090 w 171450"/>
                <a:gd name="connsiteY12" fmla="*/ 59940 h 171450"/>
                <a:gd name="connsiteX13" fmla="*/ 130560 w 171450"/>
                <a:gd name="connsiteY13" fmla="*/ 59940 h 171450"/>
                <a:gd name="connsiteX14" fmla="*/ 130560 w 171450"/>
                <a:gd name="connsiteY14" fmla="*/ 7341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85725" y="171450"/>
                  </a:moveTo>
                  <a:cubicBezTo>
                    <a:pt x="138915" y="171450"/>
                    <a:pt x="171450" y="138915"/>
                    <a:pt x="171450" y="85725"/>
                  </a:cubicBezTo>
                  <a:cubicBezTo>
                    <a:pt x="171450" y="32535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8915"/>
                    <a:pt x="32535" y="171450"/>
                    <a:pt x="85725" y="171450"/>
                  </a:cubicBezTo>
                  <a:close/>
                  <a:moveTo>
                    <a:pt x="130560" y="73410"/>
                  </a:moveTo>
                  <a:lnTo>
                    <a:pt x="82935" y="121035"/>
                  </a:lnTo>
                  <a:cubicBezTo>
                    <a:pt x="79216" y="124755"/>
                    <a:pt x="73184" y="124755"/>
                    <a:pt x="69465" y="121035"/>
                  </a:cubicBezTo>
                  <a:lnTo>
                    <a:pt x="40890" y="92460"/>
                  </a:lnTo>
                  <a:cubicBezTo>
                    <a:pt x="37170" y="88741"/>
                    <a:pt x="37170" y="82709"/>
                    <a:pt x="40890" y="78990"/>
                  </a:cubicBezTo>
                  <a:cubicBezTo>
                    <a:pt x="44610" y="75270"/>
                    <a:pt x="50640" y="75270"/>
                    <a:pt x="54360" y="78990"/>
                  </a:cubicBezTo>
                  <a:lnTo>
                    <a:pt x="76200" y="100830"/>
                  </a:lnTo>
                  <a:lnTo>
                    <a:pt x="117090" y="59940"/>
                  </a:lnTo>
                  <a:cubicBezTo>
                    <a:pt x="120809" y="56220"/>
                    <a:pt x="126841" y="56220"/>
                    <a:pt x="130560" y="59940"/>
                  </a:cubicBezTo>
                  <a:cubicBezTo>
                    <a:pt x="134280" y="63660"/>
                    <a:pt x="134280" y="69691"/>
                    <a:pt x="130560" y="7341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5229E1AC-571B-7230-D2D9-1D5203B32528}"/>
              </a:ext>
            </a:extLst>
          </p:cNvPr>
          <p:cNvSpPr txBox="1"/>
          <p:nvPr/>
        </p:nvSpPr>
        <p:spPr>
          <a:xfrm>
            <a:off x="8115300" y="-64293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ru-RU" sz="1400" dirty="0" err="1"/>
          </a:p>
        </p:txBody>
      </p:sp>
    </p:spTree>
    <p:extLst>
      <p:ext uri="{BB962C8B-B14F-4D97-AF65-F5344CB8AC3E}">
        <p14:creationId xmlns:p14="http://schemas.microsoft.com/office/powerpoint/2010/main" val="2111936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60DFF3-0988-1AA4-14AC-C056387168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C758AEEB-970B-1DD6-0E11-3304CF55EA65}"/>
              </a:ext>
            </a:extLst>
          </p:cNvPr>
          <p:cNvSpPr/>
          <p:nvPr/>
        </p:nvSpPr>
        <p:spPr>
          <a:xfrm>
            <a:off x="2173298" y="1251911"/>
            <a:ext cx="7843820" cy="4354176"/>
          </a:xfrm>
          <a:prstGeom prst="roundRect">
            <a:avLst>
              <a:gd name="adj" fmla="val 3744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69DC503-937F-E748-8D55-410BDC1D1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EC73828-023D-FE96-E6EC-2165DC56B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DAG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732A5A9-E830-C488-4502-3AE486F41646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0" i="0" u="none" strike="noStrike" kern="1200" cap="none" spc="0" normalizeH="0" baseline="0" noProof="0" dirty="0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G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E6BE09-9C0F-C500-9844-AA29E3BD4203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ru-RU" sz="1400" dirty="0" err="1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AFDD198-AB22-117A-0179-198AE7CF78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2618" y="1277049"/>
            <a:ext cx="7585180" cy="430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194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D3375E-82B1-2CD2-9C87-B3D39E2C1D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7D1A0429-D443-8B2A-C786-D8F316E9D8CB}"/>
              </a:ext>
            </a:extLst>
          </p:cNvPr>
          <p:cNvSpPr/>
          <p:nvPr/>
        </p:nvSpPr>
        <p:spPr>
          <a:xfrm>
            <a:off x="639764" y="1251910"/>
            <a:ext cx="7034665" cy="4778775"/>
          </a:xfrm>
          <a:prstGeom prst="roundRect">
            <a:avLst>
              <a:gd name="adj" fmla="val 3744"/>
            </a:avLst>
          </a:prstGeom>
          <a:solidFill>
            <a:srgbClr val="1A1A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0000343-9D29-8AD1-FDB7-068E4D4D97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45D85AB1-75FA-F519-E199-B4472D578E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on</a:t>
            </a: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E3CFED-7A17-74EB-DCDF-10B9CB35730F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endParaRPr lang="ru-RU" sz="1400" dirty="0" err="1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5ACE807-EDE9-3747-F77F-C84C69351C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760" y="1403049"/>
            <a:ext cx="6714744" cy="4476496"/>
          </a:xfrm>
          <a:prstGeom prst="rect">
            <a:avLst/>
          </a:prstGeom>
        </p:spPr>
      </p:pic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673B5809-D485-93DC-619D-DBB9D10DB8CA}"/>
              </a:ext>
            </a:extLst>
          </p:cNvPr>
          <p:cNvSpPr/>
          <p:nvPr/>
        </p:nvSpPr>
        <p:spPr>
          <a:xfrm>
            <a:off x="7894907" y="1251909"/>
            <a:ext cx="3670037" cy="4778775"/>
          </a:xfrm>
          <a:prstGeom prst="roundRect">
            <a:avLst>
              <a:gd name="adj" fmla="val 3744"/>
            </a:avLst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941CC5F-853E-C3F7-FE5B-450AEDF494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05351" y="1371519"/>
            <a:ext cx="3449147" cy="382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06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D605CD-4FD3-F347-309E-B98C285C77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3FF8DE80-FF2E-000E-6731-69A1E831C74B}"/>
              </a:ext>
            </a:extLst>
          </p:cNvPr>
          <p:cNvSpPr/>
          <p:nvPr/>
        </p:nvSpPr>
        <p:spPr>
          <a:xfrm>
            <a:off x="1962949" y="2301239"/>
            <a:ext cx="8264518" cy="2270761"/>
          </a:xfrm>
          <a:prstGeom prst="roundRect">
            <a:avLst>
              <a:gd name="adj" fmla="val 10455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317CAAD-734C-3E81-7099-42E37F2EB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01E7DAD0-B2D2-B8CB-B25C-E78D652EB2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DummyOperator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AE01A39-E07C-C409-241F-4135CBE41EBE}"/>
              </a:ext>
            </a:extLst>
          </p:cNvPr>
          <p:cNvSpPr txBox="1"/>
          <p:nvPr/>
        </p:nvSpPr>
        <p:spPr>
          <a:xfrm>
            <a:off x="2511464" y="4885557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ummyOperator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AA4EBA-6ED4-481E-95D9-DA10AC44BDA7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F560995-AAC0-9792-CCF5-A172739FA1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00" y="2614796"/>
            <a:ext cx="7772400" cy="1628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200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A16759-FAB7-893A-B468-7B66D747FB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3D042EEB-C8F3-833C-6B17-DF4B2CF64858}"/>
              </a:ext>
            </a:extLst>
          </p:cNvPr>
          <p:cNvSpPr/>
          <p:nvPr/>
        </p:nvSpPr>
        <p:spPr>
          <a:xfrm>
            <a:off x="1924849" y="1509875"/>
            <a:ext cx="8340718" cy="3838249"/>
          </a:xfrm>
          <a:prstGeom prst="roundRect">
            <a:avLst>
              <a:gd name="adj" fmla="val 5729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BEFFEA8-CA3E-294D-D170-B6502F2AB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ACF1E22D-DD1A-113C-2490-C4BC6C55E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BashOperator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C4D904-C610-BCBD-81C7-A492D597F6C6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hOperator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0B951B2-3202-CBB4-65FB-90B8C2BC4572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343EB00-38D5-5432-EEFA-93A99373CB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00" y="2051748"/>
            <a:ext cx="7772400" cy="2754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915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35B6D0-2D6A-8FBB-A3DB-7F5B87F503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3DE49009-A8BD-7420-77F7-14353AEDEDBF}"/>
              </a:ext>
            </a:extLst>
          </p:cNvPr>
          <p:cNvSpPr/>
          <p:nvPr/>
        </p:nvSpPr>
        <p:spPr>
          <a:xfrm>
            <a:off x="1924849" y="1509875"/>
            <a:ext cx="8340718" cy="3838249"/>
          </a:xfrm>
          <a:prstGeom prst="roundRect">
            <a:avLst>
              <a:gd name="adj" fmla="val 5729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560C0AA-15E2-5EAD-9A8E-8248A38B7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B18DA7D0-E5B2-5997-3C52-FC64375EDC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PythonOperator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8E43BF6-90C9-6A53-B0E1-E68E51332B68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ythonOperator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19FF2A-0417-A0CB-4936-7F30F1F915FC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E35118C-A70B-0B7C-3231-5714F7EA9F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008" y="1723943"/>
            <a:ext cx="7772400" cy="3410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046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F5689D-9804-2B78-E3C8-FE9011D8AF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6AE1E436-F66F-A084-42D8-BCBA8AC4D6BD}"/>
              </a:ext>
            </a:extLst>
          </p:cNvPr>
          <p:cNvSpPr/>
          <p:nvPr/>
        </p:nvSpPr>
        <p:spPr>
          <a:xfrm>
            <a:off x="1924849" y="1509875"/>
            <a:ext cx="8340718" cy="3838249"/>
          </a:xfrm>
          <a:prstGeom prst="roundRect">
            <a:avLst>
              <a:gd name="adj" fmla="val 5729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D6225EB-0B57-61F5-6E63-A909C2A85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7E161CC6-5734-CF65-6A93-A772DEA6B6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SqlOperator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1AA6BD-5578-40C8-A49E-169C5BDA1D75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qlOperator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FE87F0-7C32-8E1A-5165-24D85A797636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381B055-C612-B819-4EBB-B86B1EF038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008" y="1955858"/>
            <a:ext cx="7772400" cy="2946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50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74DB60-C296-9835-35D1-EB1D1CB0EE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67C3D562-909B-5C4F-C596-A75C94D22858}"/>
              </a:ext>
            </a:extLst>
          </p:cNvPr>
          <p:cNvSpPr/>
          <p:nvPr/>
        </p:nvSpPr>
        <p:spPr>
          <a:xfrm>
            <a:off x="1924849" y="1509875"/>
            <a:ext cx="8340718" cy="3838249"/>
          </a:xfrm>
          <a:prstGeom prst="roundRect">
            <a:avLst>
              <a:gd name="adj" fmla="val 5729"/>
            </a:avLst>
          </a:prstGeom>
          <a:solidFill>
            <a:srgbClr val="040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0BFC058-935C-DFDB-D9C9-9EEBD4263E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30C267A9-0CF2-F88F-00D3-E6F218D882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ExternalTaskOperator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36870AC-F49C-1FA3-EBF8-AB7123115957}"/>
              </a:ext>
            </a:extLst>
          </p:cNvPr>
          <p:cNvSpPr txBox="1"/>
          <p:nvPr/>
        </p:nvSpPr>
        <p:spPr>
          <a:xfrm>
            <a:off x="2511464" y="5762370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ernalTaskOperator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8EF65C-D24F-D216-FB9E-58DCAE51DC3A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ED4EEA4-78DB-FA89-37D4-CA2D50E40B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8467" y="2071303"/>
            <a:ext cx="8035066" cy="2715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86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45DC3B-B616-9A79-8857-FF3893EF57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91EA396-BFEB-49A8-41F3-2C29334CB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7A597B5F-6058-5D44-3FBE-C71634628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executionOrder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AAA6C7D-0C0B-A63B-A708-6CEFDFF4FDBB}"/>
              </a:ext>
            </a:extLst>
          </p:cNvPr>
          <p:cNvSpPr txBox="1"/>
          <p:nvPr/>
        </p:nvSpPr>
        <p:spPr>
          <a:xfrm>
            <a:off x="2511464" y="4362499"/>
            <a:ext cx="7167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E1114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ecutionOrder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B2C8DE6-41C6-7B82-96B7-DA54CEA43C72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CE687816-22C2-A470-107D-4E856291C2FC}"/>
              </a:ext>
            </a:extLst>
          </p:cNvPr>
          <p:cNvGrpSpPr/>
          <p:nvPr/>
        </p:nvGrpSpPr>
        <p:grpSpPr>
          <a:xfrm>
            <a:off x="1275952" y="2794889"/>
            <a:ext cx="9640095" cy="1268222"/>
            <a:chOff x="1924849" y="2880360"/>
            <a:chExt cx="8340718" cy="1097280"/>
          </a:xfrm>
        </p:grpSpPr>
        <p:sp>
          <p:nvSpPr>
            <p:cNvPr id="7" name="Скругленный прямоугольник 6">
              <a:extLst>
                <a:ext uri="{FF2B5EF4-FFF2-40B4-BE49-F238E27FC236}">
                  <a16:creationId xmlns:a16="http://schemas.microsoft.com/office/drawing/2014/main" id="{15DD3604-EE04-361E-B9F0-96CB7BA885CF}"/>
                </a:ext>
              </a:extLst>
            </p:cNvPr>
            <p:cNvSpPr/>
            <p:nvPr/>
          </p:nvSpPr>
          <p:spPr>
            <a:xfrm>
              <a:off x="1924849" y="2880360"/>
              <a:ext cx="8340718" cy="1097280"/>
            </a:xfrm>
            <a:prstGeom prst="roundRect">
              <a:avLst>
                <a:gd name="adj" fmla="val 18229"/>
              </a:avLst>
            </a:prstGeom>
            <a:solidFill>
              <a:srgbClr val="0400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" name="Рисунок 1">
              <a:extLst>
                <a:ext uri="{FF2B5EF4-FFF2-40B4-BE49-F238E27FC236}">
                  <a16:creationId xmlns:a16="http://schemas.microsoft.com/office/drawing/2014/main" id="{77EBF8EF-DE5D-D22A-3929-6DD6611CD0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209800" y="3139394"/>
              <a:ext cx="7772400" cy="5792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9371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000" t="-1000" r="-1000" b="-1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B6EE88B-5267-65FE-CD65-FF56431C83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6A8A02E-E898-2F18-1C9F-98139B4E43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1744" y="3884017"/>
            <a:ext cx="7588506" cy="1560179"/>
          </a:xfrm>
        </p:spPr>
        <p:txBody>
          <a:bodyPr/>
          <a:lstStyle/>
          <a:p>
            <a:pPr algn="ctr"/>
            <a:r>
              <a:rPr lang="en" sz="4400" dirty="0" err="1"/>
              <a:t>LiveCoding</a:t>
            </a:r>
            <a:r>
              <a:rPr lang="en" sz="4400" dirty="0"/>
              <a:t>. Airflow</a:t>
            </a:r>
            <a:endParaRPr lang="ru-RU" sz="4400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4AB4825-7E79-4D01-F3CA-E8D28B96C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96A3AE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96A3AE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D0F655F8-6916-62E5-5D0E-3AB08395515D}"/>
              </a:ext>
            </a:extLst>
          </p:cNvPr>
          <p:cNvGrpSpPr/>
          <p:nvPr/>
        </p:nvGrpSpPr>
        <p:grpSpPr>
          <a:xfrm rot="764675">
            <a:off x="4544880" y="1907538"/>
            <a:ext cx="3396483" cy="1161124"/>
            <a:chOff x="4485247" y="1413805"/>
            <a:chExt cx="4092223" cy="1398970"/>
          </a:xfrm>
        </p:grpSpPr>
        <p:sp>
          <p:nvSpPr>
            <p:cNvPr id="8" name="Скругленный прямоугольник 7">
              <a:extLst>
                <a:ext uri="{FF2B5EF4-FFF2-40B4-BE49-F238E27FC236}">
                  <a16:creationId xmlns:a16="http://schemas.microsoft.com/office/drawing/2014/main" id="{751E47E3-E56A-C2D5-EC34-DB8205E090BC}"/>
                </a:ext>
              </a:extLst>
            </p:cNvPr>
            <p:cNvSpPr/>
            <p:nvPr/>
          </p:nvSpPr>
          <p:spPr>
            <a:xfrm>
              <a:off x="4485247" y="1413805"/>
              <a:ext cx="4092223" cy="139897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929873B2-B148-27E8-C2F4-8BF9D7DF624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57279" y="1474399"/>
              <a:ext cx="3748157" cy="12777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22919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13259F-504B-2469-9994-3C363DB3B4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70F775F2-87B3-4359-53EC-6ADD82B689E8}"/>
              </a:ext>
            </a:extLst>
          </p:cNvPr>
          <p:cNvSpPr/>
          <p:nvPr/>
        </p:nvSpPr>
        <p:spPr>
          <a:xfrm>
            <a:off x="1158955" y="1302233"/>
            <a:ext cx="9872421" cy="4921529"/>
          </a:xfrm>
          <a:prstGeom prst="roundRect">
            <a:avLst>
              <a:gd name="adj" fmla="val 2552"/>
            </a:avLst>
          </a:prstGeom>
          <a:solidFill>
            <a:schemeClr val="bg2"/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AE28919-2B3B-E189-EF42-2AC009306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C1752D0-1C0C-4C5E-8203-1BFF812E2D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LiveCoding</a:t>
            </a:r>
            <a:r>
              <a:rPr lang="en" dirty="0"/>
              <a:t>. Airflow. Basic DAG</a:t>
            </a: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3CE70C-2613-7F45-876E-310EAAACF9CE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F885E7E-E123-2633-6D10-3962E58ECC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2194" y="1415116"/>
            <a:ext cx="9585945" cy="4695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44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8A797-7AEF-33D6-7DE7-091C01E773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39FAA9FA-6DB4-65CB-0DAC-8E091BA618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5667" y="1520824"/>
            <a:ext cx="4741864" cy="4741864"/>
          </a:xfrm>
          <a:prstGeom prst="rect">
            <a:avLst/>
          </a:prstGeom>
          <a:noFill/>
        </p:spPr>
      </p:pic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3027D72A-B27B-999F-3CFE-E9E965EB33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7200" cy="216000"/>
          </a:xfrm>
        </p:spPr>
        <p:txBody>
          <a:bodyPr vert="horz" lIns="0" tIns="0" rIns="0" bIns="0" rtlCol="0" anchor="ctr">
            <a:normAutofit/>
          </a:bodyPr>
          <a:lstStyle/>
          <a:p>
            <a:pPr marR="0" lvl="0" indent="0" fontAlgn="auto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27AE835-400D-30C7-FB01-353CFB6CC626}"/>
              </a:ext>
            </a:extLst>
          </p:cNvPr>
          <p:cNvSpPr txBox="1"/>
          <p:nvPr/>
        </p:nvSpPr>
        <p:spPr>
          <a:xfrm>
            <a:off x="639764" y="411163"/>
            <a:ext cx="10910888" cy="68446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marL="0" marR="0" lvl="0" indent="0" fontAlgn="auto">
              <a:lnSpc>
                <a:spcPct val="85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3200" i="0" u="none" strike="noStrike" cap="none" spc="-30" normalizeH="0" noProof="0">
                <a:ln>
                  <a:noFill/>
                </a:ln>
                <a:effectLst/>
                <a:uLnTx/>
                <a:uFillTx/>
                <a:ea typeface="+mj-ea"/>
                <a:cs typeface="+mj-cs"/>
              </a:rPr>
              <a:t>REPOSITORY</a:t>
            </a:r>
          </a:p>
        </p:txBody>
      </p: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487BC404-6B82-A3F1-D291-5017B078B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 vert="horz" lIns="0" tIns="0" rIns="0" bIns="0" rtlCol="0" anchor="b">
            <a:norm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ru-RU" kern="1200" dirty="0">
                <a:latin typeface="+mn-lt"/>
                <a:ea typeface="+mn-ea"/>
                <a:cs typeface="+mn-cs"/>
              </a:rPr>
              <a:t>https://github.com/rushawx/airflowWebinarSimulative</a:t>
            </a:r>
          </a:p>
        </p:txBody>
      </p:sp>
    </p:spTree>
    <p:extLst>
      <p:ext uri="{BB962C8B-B14F-4D97-AF65-F5344CB8AC3E}">
        <p14:creationId xmlns:p14="http://schemas.microsoft.com/office/powerpoint/2010/main" val="3827562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D27739-E30E-3999-6627-5F3A6474E9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CFAC1E32-3622-9189-5480-91F970338634}"/>
              </a:ext>
            </a:extLst>
          </p:cNvPr>
          <p:cNvSpPr/>
          <p:nvPr/>
        </p:nvSpPr>
        <p:spPr>
          <a:xfrm>
            <a:off x="1158955" y="1302233"/>
            <a:ext cx="9872421" cy="4921529"/>
          </a:xfrm>
          <a:prstGeom prst="roundRect">
            <a:avLst>
              <a:gd name="adj" fmla="val 2552"/>
            </a:avLst>
          </a:prstGeom>
          <a:solidFill>
            <a:schemeClr val="bg2"/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CDA0379-FB1C-5114-5B1C-A5863D9988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0BB78229-A600-CCCA-7AAE-D2D39268A6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 err="1"/>
              <a:t>LiveCoding</a:t>
            </a:r>
            <a:r>
              <a:rPr lang="en" dirty="0"/>
              <a:t>. Airflow. Advanced DAG</a:t>
            </a: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FBA5D2-B830-62DC-40BD-9B79318FEBF6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E767618-8D20-7C91-5674-E7083A1AC2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2193" y="1415116"/>
            <a:ext cx="9585945" cy="4687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75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6C296C-A70E-11D7-AE1E-89EC2F220D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C022C76-9583-9C27-143B-468752140D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0B29C7F6-6335-3068-D3F5-22F5D55153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apReduce</a:t>
            </a: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CC3B95-D1AF-51AA-21A9-0B63F97D41AC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394ECCE-3E1D-C7E2-1F6C-24BF475DC3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809" y="1271589"/>
            <a:ext cx="11226382" cy="4707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929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275871-3D84-F238-42FF-25711E0C8C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Скругленный прямоугольник 51">
            <a:extLst>
              <a:ext uri="{FF2B5EF4-FFF2-40B4-BE49-F238E27FC236}">
                <a16:creationId xmlns:a16="http://schemas.microsoft.com/office/drawing/2014/main" id="{39945185-0F8B-8069-552D-3C8DAFB80154}"/>
              </a:ext>
            </a:extLst>
          </p:cNvPr>
          <p:cNvSpPr/>
          <p:nvPr/>
        </p:nvSpPr>
        <p:spPr>
          <a:xfrm>
            <a:off x="-228599" y="1601594"/>
            <a:ext cx="6800850" cy="684465"/>
          </a:xfrm>
          <a:prstGeom prst="roundRect">
            <a:avLst>
              <a:gd name="adj" fmla="val 23214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DB3BE08-B3B6-39ED-1D55-719E2147B978}"/>
              </a:ext>
            </a:extLst>
          </p:cNvPr>
          <p:cNvSpPr/>
          <p:nvPr/>
        </p:nvSpPr>
        <p:spPr>
          <a:xfrm>
            <a:off x="7004050" y="0"/>
            <a:ext cx="5187950" cy="6858000"/>
          </a:xfrm>
          <a:prstGeom prst="rect">
            <a:avLst/>
          </a:prstGeom>
          <a:blipFill dpi="0" rotWithShape="1">
            <a:blip r:embed="rId2"/>
            <a:srcRect/>
            <a:stretch>
              <a:fillRect l="-37000" t="-1000" r="-1000" b="-1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A1E534F-D8C0-8CC9-0EC9-BF32172884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484C39C-3102-6544-E3EB-3C6A82C6A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ключение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253CE9DB-DA4E-372F-083A-FA903AE5B760}"/>
              </a:ext>
            </a:extLst>
          </p:cNvPr>
          <p:cNvGrpSpPr/>
          <p:nvPr/>
        </p:nvGrpSpPr>
        <p:grpSpPr>
          <a:xfrm>
            <a:off x="702653" y="2717133"/>
            <a:ext cx="5279577" cy="369332"/>
            <a:chOff x="697651" y="4284681"/>
            <a:chExt cx="5279577" cy="369332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8B87E191-CBB7-390C-14A9-CD04EEE838A3}"/>
                </a:ext>
              </a:extLst>
            </p:cNvPr>
            <p:cNvSpPr txBox="1"/>
            <p:nvPr/>
          </p:nvSpPr>
          <p:spPr>
            <a:xfrm>
              <a:off x="1008928" y="4284681"/>
              <a:ext cx="49683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dirty="0"/>
                <a:t>познакомились с </a:t>
              </a:r>
              <a:r>
                <a:rPr lang="en" dirty="0"/>
                <a:t>Airflow</a:t>
              </a:r>
              <a:endParaRPr lang="ru-RU" dirty="0"/>
            </a:p>
          </p:txBody>
        </p:sp>
        <p:sp>
          <p:nvSpPr>
            <p:cNvPr id="26" name="Рисунок 15">
              <a:extLst>
                <a:ext uri="{FF2B5EF4-FFF2-40B4-BE49-F238E27FC236}">
                  <a16:creationId xmlns:a16="http://schemas.microsoft.com/office/drawing/2014/main" id="{F698813B-AB30-704B-3430-296CB2FFB34A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D0607F22-2892-EFD2-4402-8873DDF7C3DC}"/>
              </a:ext>
            </a:extLst>
          </p:cNvPr>
          <p:cNvGrpSpPr/>
          <p:nvPr/>
        </p:nvGrpSpPr>
        <p:grpSpPr>
          <a:xfrm>
            <a:off x="702653" y="3379386"/>
            <a:ext cx="5279577" cy="369332"/>
            <a:chOff x="697651" y="4284681"/>
            <a:chExt cx="5279577" cy="369332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DF943B94-D75F-1435-2E86-06CC59290EAD}"/>
                </a:ext>
              </a:extLst>
            </p:cNvPr>
            <p:cNvSpPr txBox="1"/>
            <p:nvPr/>
          </p:nvSpPr>
          <p:spPr>
            <a:xfrm>
              <a:off x="1008928" y="4284681"/>
              <a:ext cx="49683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dirty="0"/>
                <a:t>узнали что такое </a:t>
              </a:r>
              <a:r>
                <a:rPr lang="en" dirty="0"/>
                <a:t>DAG</a:t>
              </a:r>
              <a:endParaRPr lang="ru-RU" dirty="0"/>
            </a:p>
          </p:txBody>
        </p:sp>
        <p:sp>
          <p:nvSpPr>
            <p:cNvPr id="29" name="Рисунок 15">
              <a:extLst>
                <a:ext uri="{FF2B5EF4-FFF2-40B4-BE49-F238E27FC236}">
                  <a16:creationId xmlns:a16="http://schemas.microsoft.com/office/drawing/2014/main" id="{B8BA6CBE-7ED5-AE17-FB61-3F57068DC1F1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3532AABD-3129-6524-B6B2-414B111EFA5F}"/>
              </a:ext>
            </a:extLst>
          </p:cNvPr>
          <p:cNvGrpSpPr/>
          <p:nvPr/>
        </p:nvGrpSpPr>
        <p:grpSpPr>
          <a:xfrm>
            <a:off x="702653" y="4041639"/>
            <a:ext cx="5279577" cy="369332"/>
            <a:chOff x="697651" y="4284681"/>
            <a:chExt cx="5279577" cy="369332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BD97696-9C3C-7309-A243-4F9EB889A6C9}"/>
                </a:ext>
              </a:extLst>
            </p:cNvPr>
            <p:cNvSpPr txBox="1"/>
            <p:nvPr/>
          </p:nvSpPr>
          <p:spPr>
            <a:xfrm>
              <a:off x="1008928" y="4284681"/>
              <a:ext cx="49683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dirty="0"/>
                <a:t>создали веб-сервис на </a:t>
              </a:r>
              <a:r>
                <a:rPr lang="en" dirty="0" err="1"/>
                <a:t>FastAPI</a:t>
              </a:r>
              <a:endParaRPr lang="ru-RU" dirty="0"/>
            </a:p>
          </p:txBody>
        </p:sp>
        <p:sp>
          <p:nvSpPr>
            <p:cNvPr id="44" name="Рисунок 15">
              <a:extLst>
                <a:ext uri="{FF2B5EF4-FFF2-40B4-BE49-F238E27FC236}">
                  <a16:creationId xmlns:a16="http://schemas.microsoft.com/office/drawing/2014/main" id="{A793A32E-6EEA-5AF0-3FB1-28FED866FC56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28F36E6D-9B14-D756-9DDB-1ADF5DF2B845}"/>
              </a:ext>
            </a:extLst>
          </p:cNvPr>
          <p:cNvGrpSpPr/>
          <p:nvPr/>
        </p:nvGrpSpPr>
        <p:grpSpPr>
          <a:xfrm>
            <a:off x="702653" y="4703892"/>
            <a:ext cx="5279577" cy="369332"/>
            <a:chOff x="697651" y="4284681"/>
            <a:chExt cx="5279577" cy="369332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9E10896-8F70-97D3-EA19-095FDD3EE1C0}"/>
                </a:ext>
              </a:extLst>
            </p:cNvPr>
            <p:cNvSpPr txBox="1"/>
            <p:nvPr/>
          </p:nvSpPr>
          <p:spPr>
            <a:xfrm>
              <a:off x="1008928" y="4284681"/>
              <a:ext cx="49683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dirty="0"/>
                <a:t>подняли </a:t>
              </a:r>
              <a:r>
                <a:rPr lang="en" dirty="0"/>
                <a:t>Airflow, Postgres, </a:t>
              </a:r>
              <a:r>
                <a:rPr lang="en" dirty="0" err="1"/>
                <a:t>Clickhouse</a:t>
              </a:r>
              <a:r>
                <a:rPr lang="en" dirty="0"/>
                <a:t>, </a:t>
              </a:r>
              <a:r>
                <a:rPr lang="en" dirty="0" err="1"/>
                <a:t>Minio</a:t>
              </a:r>
              <a:endParaRPr lang="ru-RU" dirty="0"/>
            </a:p>
          </p:txBody>
        </p:sp>
        <p:sp>
          <p:nvSpPr>
            <p:cNvPr id="47" name="Рисунок 15">
              <a:extLst>
                <a:ext uri="{FF2B5EF4-FFF2-40B4-BE49-F238E27FC236}">
                  <a16:creationId xmlns:a16="http://schemas.microsoft.com/office/drawing/2014/main" id="{7DB65B61-90EF-7F82-F6C1-6946EF9E8887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0D15D857-9DE8-5C8E-43ED-2C70FBA538E3}"/>
              </a:ext>
            </a:extLst>
          </p:cNvPr>
          <p:cNvGrpSpPr/>
          <p:nvPr/>
        </p:nvGrpSpPr>
        <p:grpSpPr>
          <a:xfrm>
            <a:off x="702653" y="5366145"/>
            <a:ext cx="5279577" cy="369332"/>
            <a:chOff x="697651" y="4284681"/>
            <a:chExt cx="5279577" cy="369332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3EE5AFD7-4598-8683-B4C4-CA0896503CA8}"/>
                </a:ext>
              </a:extLst>
            </p:cNvPr>
            <p:cNvSpPr txBox="1"/>
            <p:nvPr/>
          </p:nvSpPr>
          <p:spPr>
            <a:xfrm>
              <a:off x="1008928" y="4284681"/>
              <a:ext cx="49683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dirty="0"/>
                <a:t>настроили </a:t>
              </a:r>
              <a:r>
                <a:rPr lang="en" dirty="0"/>
                <a:t>ETL </a:t>
              </a:r>
              <a:r>
                <a:rPr lang="ru-RU" dirty="0"/>
                <a:t>процессы </a:t>
              </a:r>
              <a:r>
                <a:rPr lang="en" dirty="0"/>
                <a:t>HTTP-SQL-NoSQL</a:t>
              </a:r>
              <a:endParaRPr lang="ru-RU" dirty="0"/>
            </a:p>
          </p:txBody>
        </p:sp>
        <p:sp>
          <p:nvSpPr>
            <p:cNvPr id="50" name="Рисунок 15">
              <a:extLst>
                <a:ext uri="{FF2B5EF4-FFF2-40B4-BE49-F238E27FC236}">
                  <a16:creationId xmlns:a16="http://schemas.microsoft.com/office/drawing/2014/main" id="{952C6252-653F-7239-1767-1AC265FEDD6D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722891BF-4F4F-37C6-4DD9-F396DD162E1F}"/>
              </a:ext>
            </a:extLst>
          </p:cNvPr>
          <p:cNvSpPr txBox="1"/>
          <p:nvPr/>
        </p:nvSpPr>
        <p:spPr>
          <a:xfrm>
            <a:off x="584310" y="1704427"/>
            <a:ext cx="593248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chemeClr val="accent1"/>
                </a:solidFill>
              </a:rPr>
              <a:t>За сегодняшний вебинар мы с вами:</a:t>
            </a:r>
          </a:p>
        </p:txBody>
      </p:sp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0FA68F95-7272-23AC-99A5-6ADDD2F192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6935" y="1393498"/>
            <a:ext cx="3962179" cy="3962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835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D62680-3F95-E1AE-F117-E06CE18B82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qr code with a black and white background&#10;&#10;AI-generated content may be incorrect.">
            <a:extLst>
              <a:ext uri="{FF2B5EF4-FFF2-40B4-BE49-F238E27FC236}">
                <a16:creationId xmlns:a16="http://schemas.microsoft.com/office/drawing/2014/main" id="{F2C85F3F-DBB5-5810-2867-77BCFEC07E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5667" y="1520824"/>
            <a:ext cx="4741864" cy="4741864"/>
          </a:xfrm>
          <a:prstGeom prst="rect">
            <a:avLst/>
          </a:prstGeom>
          <a:noFill/>
        </p:spPr>
      </p:pic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F025755-7250-156B-4754-824C3CF615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7744" y="6430370"/>
            <a:ext cx="907200" cy="216000"/>
          </a:xfrm>
        </p:spPr>
        <p:txBody>
          <a:bodyPr anchor="ctr"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ru-RU" b="0" i="0" u="none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C0E8AB0-EA79-ED22-F666-4FCAD97198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4" y="411163"/>
            <a:ext cx="10910888" cy="684465"/>
          </a:xfrm>
        </p:spPr>
        <p:txBody>
          <a:bodyPr anchor="t">
            <a:normAutofit/>
          </a:bodyPr>
          <a:lstStyle/>
          <a:p>
            <a:r>
              <a:rPr lang="en" dirty="0"/>
              <a:t>Data Analyst Intern</a:t>
            </a:r>
            <a:endParaRPr lang="ru-RU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E540587-E4F6-ADF8-2B6E-D683BA8F9C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7274114" cy="144500"/>
          </a:xfrm>
        </p:spPr>
        <p:txBody>
          <a:bodyPr/>
          <a:lstStyle/>
          <a:p>
            <a:pPr algn="ctr"/>
            <a:r>
              <a:rPr lang="en-US" dirty="0"/>
              <a:t>https://job.ozon.ru/vacancy/stazhyor-analitik-dannikh-marketpleis-otdel-produktovoi-analitiki-117822969</a:t>
            </a: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1A2CC96-DE57-FF02-7E20-29536C908366}"/>
              </a:ext>
            </a:extLst>
          </p:cNvPr>
          <p:cNvSpPr txBox="1"/>
          <p:nvPr/>
        </p:nvSpPr>
        <p:spPr>
          <a:xfrm>
            <a:off x="1550504" y="8746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470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09AF937-C689-6C9E-0044-719B5E7F71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1">
            <a:extLst>
              <a:ext uri="{FF2B5EF4-FFF2-40B4-BE49-F238E27FC236}">
                <a16:creationId xmlns:a16="http://schemas.microsoft.com/office/drawing/2014/main" id="{37E1AF45-D88A-B067-21BF-7C3541A872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34106" y="4872682"/>
            <a:ext cx="7289625" cy="1642418"/>
          </a:xfrm>
        </p:spPr>
        <p:txBody>
          <a:bodyPr/>
          <a:lstStyle/>
          <a:p>
            <a:pPr>
              <a:spcAft>
                <a:spcPts val="300"/>
              </a:spcAft>
            </a:pPr>
            <a:r>
              <a:rPr lang="ru-RU" b="1" dirty="0"/>
              <a:t>Антон Шишков</a:t>
            </a:r>
          </a:p>
          <a:p>
            <a:pPr>
              <a:spcAft>
                <a:spcPts val="300"/>
              </a:spcAft>
            </a:pPr>
            <a:r>
              <a:rPr lang="ru-RU" dirty="0">
                <a:solidFill>
                  <a:schemeClr val="accent2">
                    <a:lumMod val="75000"/>
                  </a:schemeClr>
                </a:solidFill>
              </a:rPr>
              <a:t>Разработчик информационных систем</a:t>
            </a:r>
          </a:p>
          <a:p>
            <a:pPr>
              <a:spcAft>
                <a:spcPts val="300"/>
              </a:spcAft>
            </a:pPr>
            <a:endParaRPr lang="ru-RU" dirty="0">
              <a:solidFill>
                <a:schemeClr val="accent2">
                  <a:lumMod val="75000"/>
                </a:schemeClr>
              </a:solidFill>
            </a:endParaRPr>
          </a:p>
          <a:p>
            <a:pPr>
              <a:spcAft>
                <a:spcPts val="300"/>
              </a:spcAft>
            </a:pPr>
            <a:r>
              <a:rPr lang="en-US" dirty="0"/>
              <a:t>ashishkov@ozon.ru / @rushawx</a:t>
            </a:r>
            <a:endParaRPr lang="ru-RU" dirty="0"/>
          </a:p>
          <a:p>
            <a:pPr>
              <a:spcAft>
                <a:spcPts val="300"/>
              </a:spcAft>
            </a:pPr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215D77EC-C2A4-D5C1-6E26-7D07B76B4F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6719" y="2152745"/>
            <a:ext cx="6545720" cy="2277549"/>
          </a:xfrm>
        </p:spPr>
        <p:txBody>
          <a:bodyPr/>
          <a:lstStyle/>
          <a:p>
            <a:r>
              <a:rPr lang="ru-RU" dirty="0"/>
              <a:t>Спасибо за внимание!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51CB1EE-5B28-9E02-59B2-5097E624AC2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62323" y="4765314"/>
            <a:ext cx="783205" cy="782324"/>
          </a:xfrm>
          <a:prstGeom prst="rect">
            <a:avLst/>
          </a:prstGeom>
        </p:spPr>
      </p:pic>
      <p:sp>
        <p:nvSpPr>
          <p:cNvPr id="5" name="Рисунок 10">
            <a:extLst>
              <a:ext uri="{FF2B5EF4-FFF2-40B4-BE49-F238E27FC236}">
                <a16:creationId xmlns:a16="http://schemas.microsoft.com/office/drawing/2014/main" id="{8EE29440-FB43-960D-D912-7F72F8883A18}"/>
              </a:ext>
            </a:extLst>
          </p:cNvPr>
          <p:cNvSpPr/>
          <p:nvPr/>
        </p:nvSpPr>
        <p:spPr>
          <a:xfrm>
            <a:off x="8210830" y="-375226"/>
            <a:ext cx="3084749" cy="7477819"/>
          </a:xfrm>
          <a:custGeom>
            <a:avLst/>
            <a:gdLst>
              <a:gd name="connsiteX0" fmla="*/ 0 w 3084749"/>
              <a:gd name="connsiteY0" fmla="*/ 2927310 h 7477819"/>
              <a:gd name="connsiteX1" fmla="*/ 0 w 3084749"/>
              <a:gd name="connsiteY1" fmla="*/ 2899563 h 7477819"/>
              <a:gd name="connsiteX2" fmla="*/ 0 w 3084749"/>
              <a:gd name="connsiteY2" fmla="*/ 2205887 h 7477819"/>
              <a:gd name="connsiteX3" fmla="*/ 111665 w 3084749"/>
              <a:gd name="connsiteY3" fmla="*/ 2067152 h 7477819"/>
              <a:gd name="connsiteX4" fmla="*/ 376870 w 3084749"/>
              <a:gd name="connsiteY4" fmla="*/ 2025532 h 7477819"/>
              <a:gd name="connsiteX5" fmla="*/ 1060819 w 3084749"/>
              <a:gd name="connsiteY5" fmla="*/ 1123754 h 7477819"/>
              <a:gd name="connsiteX6" fmla="*/ 1060819 w 3084749"/>
              <a:gd name="connsiteY6" fmla="*/ 138735 h 7477819"/>
              <a:gd name="connsiteX7" fmla="*/ 1186442 w 3084749"/>
              <a:gd name="connsiteY7" fmla="*/ 0 h 7477819"/>
              <a:gd name="connsiteX8" fmla="*/ 1856433 w 3084749"/>
              <a:gd name="connsiteY8" fmla="*/ 0 h 7477819"/>
              <a:gd name="connsiteX9" fmla="*/ 1982056 w 3084749"/>
              <a:gd name="connsiteY9" fmla="*/ 138735 h 7477819"/>
              <a:gd name="connsiteX10" fmla="*/ 1982056 w 3084749"/>
              <a:gd name="connsiteY10" fmla="*/ 1123754 h 7477819"/>
              <a:gd name="connsiteX11" fmla="*/ 1228317 w 3084749"/>
              <a:gd name="connsiteY11" fmla="*/ 2552725 h 7477819"/>
              <a:gd name="connsiteX12" fmla="*/ 1982056 w 3084749"/>
              <a:gd name="connsiteY12" fmla="*/ 3912329 h 7477819"/>
              <a:gd name="connsiteX13" fmla="*/ 1982056 w 3084749"/>
              <a:gd name="connsiteY13" fmla="*/ 6076596 h 7477819"/>
              <a:gd name="connsiteX14" fmla="*/ 2456633 w 3084749"/>
              <a:gd name="connsiteY14" fmla="*/ 6548295 h 7477819"/>
              <a:gd name="connsiteX15" fmla="*/ 2945168 w 3084749"/>
              <a:gd name="connsiteY15" fmla="*/ 6548295 h 7477819"/>
              <a:gd name="connsiteX16" fmla="*/ 3070792 w 3084749"/>
              <a:gd name="connsiteY16" fmla="*/ 6687030 h 7477819"/>
              <a:gd name="connsiteX17" fmla="*/ 3084750 w 3084749"/>
              <a:gd name="connsiteY17" fmla="*/ 7339085 h 7477819"/>
              <a:gd name="connsiteX18" fmla="*/ 2945168 w 3084749"/>
              <a:gd name="connsiteY18" fmla="*/ 7477820 h 7477819"/>
              <a:gd name="connsiteX19" fmla="*/ 2554340 w 3084749"/>
              <a:gd name="connsiteY19" fmla="*/ 7477820 h 7477819"/>
              <a:gd name="connsiteX20" fmla="*/ 1493521 w 3084749"/>
              <a:gd name="connsiteY20" fmla="*/ 7047741 h 7477819"/>
              <a:gd name="connsiteX21" fmla="*/ 1046861 w 3084749"/>
              <a:gd name="connsiteY21" fmla="*/ 5979481 h 7477819"/>
              <a:gd name="connsiteX22" fmla="*/ 1046861 w 3084749"/>
              <a:gd name="connsiteY22" fmla="*/ 3953949 h 7477819"/>
              <a:gd name="connsiteX23" fmla="*/ 362912 w 3084749"/>
              <a:gd name="connsiteY23" fmla="*/ 3107665 h 7477819"/>
              <a:gd name="connsiteX24" fmla="*/ 97707 w 3084749"/>
              <a:gd name="connsiteY24" fmla="*/ 3066045 h 7477819"/>
              <a:gd name="connsiteX25" fmla="*/ 0 w 3084749"/>
              <a:gd name="connsiteY25" fmla="*/ 2927310 h 7477819"/>
              <a:gd name="connsiteX26" fmla="*/ 0 w 3084749"/>
              <a:gd name="connsiteY26" fmla="*/ 2927310 h 7477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084749" h="7477819">
                <a:moveTo>
                  <a:pt x="0" y="2927310"/>
                </a:moveTo>
                <a:cubicBezTo>
                  <a:pt x="0" y="2913436"/>
                  <a:pt x="0" y="2913436"/>
                  <a:pt x="0" y="2899563"/>
                </a:cubicBezTo>
                <a:lnTo>
                  <a:pt x="0" y="2205887"/>
                </a:lnTo>
                <a:cubicBezTo>
                  <a:pt x="0" y="2136520"/>
                  <a:pt x="41874" y="2081026"/>
                  <a:pt x="111665" y="2067152"/>
                </a:cubicBezTo>
                <a:cubicBezTo>
                  <a:pt x="209372" y="2053279"/>
                  <a:pt x="334995" y="2025532"/>
                  <a:pt x="376870" y="2025532"/>
                </a:cubicBezTo>
                <a:cubicBezTo>
                  <a:pt x="530410" y="1983911"/>
                  <a:pt x="1060819" y="1859050"/>
                  <a:pt x="1060819" y="1123754"/>
                </a:cubicBezTo>
                <a:lnTo>
                  <a:pt x="1060819" y="138735"/>
                </a:lnTo>
                <a:cubicBezTo>
                  <a:pt x="1060819" y="69368"/>
                  <a:pt x="1116652" y="0"/>
                  <a:pt x="1186442" y="0"/>
                </a:cubicBezTo>
                <a:lnTo>
                  <a:pt x="1856433" y="0"/>
                </a:lnTo>
                <a:cubicBezTo>
                  <a:pt x="1940182" y="0"/>
                  <a:pt x="1982056" y="55494"/>
                  <a:pt x="1982056" y="138735"/>
                </a:cubicBezTo>
                <a:lnTo>
                  <a:pt x="1982056" y="1123754"/>
                </a:lnTo>
                <a:cubicBezTo>
                  <a:pt x="1982056" y="2122647"/>
                  <a:pt x="1270191" y="2524978"/>
                  <a:pt x="1228317" y="2552725"/>
                </a:cubicBezTo>
                <a:cubicBezTo>
                  <a:pt x="1270191" y="2580472"/>
                  <a:pt x="1954140" y="2955057"/>
                  <a:pt x="1982056" y="3912329"/>
                </a:cubicBezTo>
                <a:cubicBezTo>
                  <a:pt x="1982056" y="3940076"/>
                  <a:pt x="1982056" y="5604897"/>
                  <a:pt x="1982056" y="6076596"/>
                </a:cubicBezTo>
                <a:cubicBezTo>
                  <a:pt x="1982056" y="6340192"/>
                  <a:pt x="2205387" y="6548295"/>
                  <a:pt x="2456633" y="6548295"/>
                </a:cubicBezTo>
                <a:cubicBezTo>
                  <a:pt x="2638089" y="6548295"/>
                  <a:pt x="2819545" y="6548295"/>
                  <a:pt x="2945168" y="6548295"/>
                </a:cubicBezTo>
                <a:cubicBezTo>
                  <a:pt x="3014959" y="6548295"/>
                  <a:pt x="3070792" y="6617662"/>
                  <a:pt x="3070792" y="6687030"/>
                </a:cubicBezTo>
                <a:cubicBezTo>
                  <a:pt x="3070792" y="6867386"/>
                  <a:pt x="3084750" y="7089362"/>
                  <a:pt x="3084750" y="7339085"/>
                </a:cubicBezTo>
                <a:cubicBezTo>
                  <a:pt x="3084750" y="7422326"/>
                  <a:pt x="3014959" y="7477820"/>
                  <a:pt x="2945168" y="7477820"/>
                </a:cubicBezTo>
                <a:lnTo>
                  <a:pt x="2554340" y="7477820"/>
                </a:lnTo>
                <a:cubicBezTo>
                  <a:pt x="2163512" y="7477820"/>
                  <a:pt x="1772684" y="7325211"/>
                  <a:pt x="1493521" y="7047741"/>
                </a:cubicBezTo>
                <a:cubicBezTo>
                  <a:pt x="1200400" y="6770271"/>
                  <a:pt x="1046861" y="6381813"/>
                  <a:pt x="1046861" y="5979481"/>
                </a:cubicBezTo>
                <a:cubicBezTo>
                  <a:pt x="1046861" y="5979481"/>
                  <a:pt x="1046861" y="3967823"/>
                  <a:pt x="1046861" y="3953949"/>
                </a:cubicBezTo>
                <a:cubicBezTo>
                  <a:pt x="1032903" y="3260274"/>
                  <a:pt x="516451" y="3149286"/>
                  <a:pt x="362912" y="3107665"/>
                </a:cubicBezTo>
                <a:cubicBezTo>
                  <a:pt x="321037" y="3093792"/>
                  <a:pt x="195414" y="3079918"/>
                  <a:pt x="97707" y="3066045"/>
                </a:cubicBezTo>
                <a:cubicBezTo>
                  <a:pt x="27916" y="3066045"/>
                  <a:pt x="0" y="2996677"/>
                  <a:pt x="0" y="2927310"/>
                </a:cubicBezTo>
                <a:lnTo>
                  <a:pt x="0" y="2927310"/>
                </a:lnTo>
                <a:close/>
              </a:path>
            </a:pathLst>
          </a:custGeom>
          <a:solidFill>
            <a:srgbClr val="3ADF68"/>
          </a:solidFill>
          <a:ln w="151209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4264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04F70DA-1191-0B15-C6DB-438D054717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27655AFB-1A5E-8C36-7AC0-F10F6574962D}"/>
              </a:ext>
            </a:extLst>
          </p:cNvPr>
          <p:cNvSpPr/>
          <p:nvPr/>
        </p:nvSpPr>
        <p:spPr>
          <a:xfrm>
            <a:off x="639762" y="1413190"/>
            <a:ext cx="5299718" cy="618003"/>
          </a:xfrm>
          <a:prstGeom prst="roundRect">
            <a:avLst>
              <a:gd name="adj" fmla="val 25852"/>
            </a:avLst>
          </a:prstGeom>
          <a:solidFill>
            <a:schemeClr val="bg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Что такое </a:t>
            </a:r>
            <a:r>
              <a:rPr kumimoji="0" lang="en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rflow</a:t>
            </a: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38E60C83-2E1E-1321-1FDF-D143C639B146}"/>
              </a:ext>
            </a:extLst>
          </p:cNvPr>
          <p:cNvSpPr/>
          <p:nvPr/>
        </p:nvSpPr>
        <p:spPr>
          <a:xfrm>
            <a:off x="639762" y="2180329"/>
            <a:ext cx="5299718" cy="618003"/>
          </a:xfrm>
          <a:prstGeom prst="roundRect">
            <a:avLst>
              <a:gd name="adj" fmla="val 25852"/>
            </a:avLst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Что такое </a:t>
            </a:r>
            <a:r>
              <a:rPr kumimoji="0" lang="en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G</a:t>
            </a: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5963D1D7-D62B-AFF3-B2FC-A9B67DCDB08F}"/>
              </a:ext>
            </a:extLst>
          </p:cNvPr>
          <p:cNvSpPr/>
          <p:nvPr/>
        </p:nvSpPr>
        <p:spPr>
          <a:xfrm>
            <a:off x="639762" y="2947468"/>
            <a:ext cx="5299718" cy="618003"/>
          </a:xfrm>
          <a:prstGeom prst="roundRect">
            <a:avLst>
              <a:gd name="adj" fmla="val 25852"/>
            </a:avLst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рхитектура </a:t>
            </a:r>
            <a:r>
              <a:rPr kumimoji="0" lang="en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rflow</a:t>
            </a: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A59A3102-C206-2782-DAFB-1FBEC1896816}"/>
              </a:ext>
            </a:extLst>
          </p:cNvPr>
          <p:cNvSpPr/>
          <p:nvPr/>
        </p:nvSpPr>
        <p:spPr>
          <a:xfrm>
            <a:off x="639762" y="3714607"/>
            <a:ext cx="5299718" cy="618003"/>
          </a:xfrm>
          <a:prstGeom prst="roundRect">
            <a:avLst>
              <a:gd name="adj" fmla="val 25852"/>
            </a:avLst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дготовка окружения</a:t>
            </a:r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6579BE37-8A4A-F10D-F544-DF3C55C5C409}"/>
              </a:ext>
            </a:extLst>
          </p:cNvPr>
          <p:cNvSpPr/>
          <p:nvPr/>
        </p:nvSpPr>
        <p:spPr>
          <a:xfrm>
            <a:off x="639762" y="4481746"/>
            <a:ext cx="5299718" cy="618003"/>
          </a:xfrm>
          <a:prstGeom prst="roundRect">
            <a:avLst>
              <a:gd name="adj" fmla="val 25852"/>
            </a:avLst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аписание приложения на </a:t>
            </a:r>
            <a:r>
              <a:rPr kumimoji="0" lang="en" sz="180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tAPI</a:t>
            </a: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D464605E-F3C8-2367-CB11-E365A2E43C63}"/>
              </a:ext>
            </a:extLst>
          </p:cNvPr>
          <p:cNvSpPr/>
          <p:nvPr/>
        </p:nvSpPr>
        <p:spPr>
          <a:xfrm>
            <a:off x="639762" y="5248886"/>
            <a:ext cx="5299718" cy="804572"/>
          </a:xfrm>
          <a:prstGeom prst="roundRect">
            <a:avLst>
              <a:gd name="adj" fmla="val 19167"/>
            </a:avLst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оздание инстансов </a:t>
            </a:r>
            <a:r>
              <a:rPr kumimoji="0" lang="en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tgres, </a:t>
            </a: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</a:t>
            </a:r>
            <a:r>
              <a:rPr kumimoji="0" lang="en" sz="180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ckhouse</a:t>
            </a:r>
            <a:r>
              <a:rPr kumimoji="0" lang="en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 </a:t>
            </a:r>
            <a:r>
              <a:rPr kumimoji="0" lang="en" sz="180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io</a:t>
            </a: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B6C9491-E853-7EDA-31D3-3D372986B46D}"/>
              </a:ext>
            </a:extLst>
          </p:cNvPr>
          <p:cNvSpPr txBox="1"/>
          <p:nvPr/>
        </p:nvSpPr>
        <p:spPr>
          <a:xfrm>
            <a:off x="639763" y="274743"/>
            <a:ext cx="6579184" cy="8229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0E1114">
                    <a:lumMod val="25000"/>
                    <a:lumOff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ENDA</a:t>
            </a:r>
            <a:endParaRPr kumimoji="0" lang="ru-RU" sz="5400" b="0" i="0" u="none" strike="noStrike" kern="1200" cap="none" spc="0" normalizeH="0" baseline="0" noProof="0" dirty="0">
              <a:ln>
                <a:noFill/>
              </a:ln>
              <a:solidFill>
                <a:srgbClr val="0E1114">
                  <a:lumMod val="25000"/>
                  <a:lumOff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Рисунок 15">
            <a:extLst>
              <a:ext uri="{FF2B5EF4-FFF2-40B4-BE49-F238E27FC236}">
                <a16:creationId xmlns:a16="http://schemas.microsoft.com/office/drawing/2014/main" id="{6C516DC3-F289-A4A4-9868-A4D14623778A}"/>
              </a:ext>
            </a:extLst>
          </p:cNvPr>
          <p:cNvSpPr/>
          <p:nvPr/>
        </p:nvSpPr>
        <p:spPr>
          <a:xfrm rot="5400000">
            <a:off x="5494801" y="1580633"/>
            <a:ext cx="283088" cy="283116"/>
          </a:xfrm>
          <a:custGeom>
            <a:avLst/>
            <a:gdLst>
              <a:gd name="connsiteX0" fmla="*/ 104775 w 171450"/>
              <a:gd name="connsiteY0" fmla="*/ 171229 h 171467"/>
              <a:gd name="connsiteX1" fmla="*/ 171450 w 171450"/>
              <a:gd name="connsiteY1" fmla="*/ 85725 h 171467"/>
              <a:gd name="connsiteX2" fmla="*/ 85725 w 171450"/>
              <a:gd name="connsiteY2" fmla="*/ 0 h 171467"/>
              <a:gd name="connsiteX3" fmla="*/ 0 w 171450"/>
              <a:gd name="connsiteY3" fmla="*/ 85725 h 171467"/>
              <a:gd name="connsiteX4" fmla="*/ 66675 w 171450"/>
              <a:gd name="connsiteY4" fmla="*/ 171229 h 171467"/>
              <a:gd name="connsiteX5" fmla="*/ 71438 w 171450"/>
              <a:gd name="connsiteY5" fmla="*/ 171450 h 171467"/>
              <a:gd name="connsiteX6" fmla="*/ 76200 w 171450"/>
              <a:gd name="connsiteY6" fmla="*/ 161925 h 171467"/>
              <a:gd name="connsiteX7" fmla="*/ 76200 w 171450"/>
              <a:gd name="connsiteY7" fmla="*/ 76200 h 171467"/>
              <a:gd name="connsiteX8" fmla="*/ 53340 w 171450"/>
              <a:gd name="connsiteY8" fmla="*/ 93345 h 171467"/>
              <a:gd name="connsiteX9" fmla="*/ 40005 w 171450"/>
              <a:gd name="connsiteY9" fmla="*/ 91440 h 171467"/>
              <a:gd name="connsiteX10" fmla="*/ 41910 w 171450"/>
              <a:gd name="connsiteY10" fmla="*/ 78105 h 171467"/>
              <a:gd name="connsiteX11" fmla="*/ 80010 w 171450"/>
              <a:gd name="connsiteY11" fmla="*/ 49530 h 171467"/>
              <a:gd name="connsiteX12" fmla="*/ 91440 w 171450"/>
              <a:gd name="connsiteY12" fmla="*/ 49530 h 171467"/>
              <a:gd name="connsiteX13" fmla="*/ 129540 w 171450"/>
              <a:gd name="connsiteY13" fmla="*/ 78105 h 171467"/>
              <a:gd name="connsiteX14" fmla="*/ 131445 w 171450"/>
              <a:gd name="connsiteY14" fmla="*/ 91440 h 171467"/>
              <a:gd name="connsiteX15" fmla="*/ 118110 w 171450"/>
              <a:gd name="connsiteY15" fmla="*/ 93345 h 171467"/>
              <a:gd name="connsiteX16" fmla="*/ 95250 w 171450"/>
              <a:gd name="connsiteY16" fmla="*/ 76200 h 171467"/>
              <a:gd name="connsiteX17" fmla="*/ 95250 w 171450"/>
              <a:gd name="connsiteY17" fmla="*/ 161925 h 171467"/>
              <a:gd name="connsiteX18" fmla="*/ 100013 w 171450"/>
              <a:gd name="connsiteY18" fmla="*/ 171450 h 171467"/>
              <a:gd name="connsiteX19" fmla="*/ 104775 w 171450"/>
              <a:gd name="connsiteY19" fmla="*/ 171229 h 171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71450" h="171467">
                <a:moveTo>
                  <a:pt x="104775" y="171229"/>
                </a:moveTo>
                <a:cubicBezTo>
                  <a:pt x="146577" y="164243"/>
                  <a:pt x="171450" y="132230"/>
                  <a:pt x="171450" y="85725"/>
                </a:cubicBezTo>
                <a:cubicBezTo>
                  <a:pt x="171450" y="32536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2230"/>
                  <a:pt x="24872" y="164243"/>
                  <a:pt x="66675" y="171229"/>
                </a:cubicBezTo>
                <a:cubicBezTo>
                  <a:pt x="68640" y="171557"/>
                  <a:pt x="71438" y="171450"/>
                  <a:pt x="71438" y="171450"/>
                </a:cubicBezTo>
                <a:cubicBezTo>
                  <a:pt x="76200" y="171450"/>
                  <a:pt x="76200" y="165705"/>
                  <a:pt x="76200" y="161925"/>
                </a:cubicBezTo>
                <a:lnTo>
                  <a:pt x="76200" y="76200"/>
                </a:lnTo>
                <a:lnTo>
                  <a:pt x="53340" y="93345"/>
                </a:lnTo>
                <a:cubicBezTo>
                  <a:pt x="49132" y="96501"/>
                  <a:pt x="43161" y="95649"/>
                  <a:pt x="40005" y="91440"/>
                </a:cubicBezTo>
                <a:cubicBezTo>
                  <a:pt x="36849" y="87231"/>
                  <a:pt x="37702" y="81261"/>
                  <a:pt x="41910" y="78105"/>
                </a:cubicBezTo>
                <a:lnTo>
                  <a:pt x="80010" y="49530"/>
                </a:lnTo>
                <a:cubicBezTo>
                  <a:pt x="83397" y="46990"/>
                  <a:pt x="88053" y="46990"/>
                  <a:pt x="91440" y="49530"/>
                </a:cubicBezTo>
                <a:lnTo>
                  <a:pt x="129540" y="78105"/>
                </a:lnTo>
                <a:cubicBezTo>
                  <a:pt x="133748" y="81261"/>
                  <a:pt x="134602" y="87231"/>
                  <a:pt x="131445" y="91440"/>
                </a:cubicBezTo>
                <a:cubicBezTo>
                  <a:pt x="128288" y="95649"/>
                  <a:pt x="122318" y="96501"/>
                  <a:pt x="118110" y="93345"/>
                </a:cubicBezTo>
                <a:lnTo>
                  <a:pt x="95250" y="76200"/>
                </a:lnTo>
                <a:cubicBezTo>
                  <a:pt x="95250" y="76200"/>
                  <a:pt x="95250" y="128447"/>
                  <a:pt x="95250" y="161925"/>
                </a:cubicBezTo>
                <a:cubicBezTo>
                  <a:pt x="95250" y="165705"/>
                  <a:pt x="95250" y="171450"/>
                  <a:pt x="100013" y="171450"/>
                </a:cubicBezTo>
                <a:cubicBezTo>
                  <a:pt x="100013" y="171450"/>
                  <a:pt x="102810" y="171557"/>
                  <a:pt x="104775" y="17122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A0FF3959-4AA5-42C6-89F9-1D2E6E3EF7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249F5-0093-48B0-B996-C4E44A87EA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A6C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A6C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Рисунок 15">
            <a:extLst>
              <a:ext uri="{FF2B5EF4-FFF2-40B4-BE49-F238E27FC236}">
                <a16:creationId xmlns:a16="http://schemas.microsoft.com/office/drawing/2014/main" id="{B9E8CDD0-48F8-FA54-5851-34BE01E12FDE}"/>
              </a:ext>
            </a:extLst>
          </p:cNvPr>
          <p:cNvSpPr/>
          <p:nvPr/>
        </p:nvSpPr>
        <p:spPr>
          <a:xfrm rot="5400000">
            <a:off x="5494801" y="2347772"/>
            <a:ext cx="283088" cy="283116"/>
          </a:xfrm>
          <a:custGeom>
            <a:avLst/>
            <a:gdLst>
              <a:gd name="connsiteX0" fmla="*/ 104775 w 171450"/>
              <a:gd name="connsiteY0" fmla="*/ 171229 h 171467"/>
              <a:gd name="connsiteX1" fmla="*/ 171450 w 171450"/>
              <a:gd name="connsiteY1" fmla="*/ 85725 h 171467"/>
              <a:gd name="connsiteX2" fmla="*/ 85725 w 171450"/>
              <a:gd name="connsiteY2" fmla="*/ 0 h 171467"/>
              <a:gd name="connsiteX3" fmla="*/ 0 w 171450"/>
              <a:gd name="connsiteY3" fmla="*/ 85725 h 171467"/>
              <a:gd name="connsiteX4" fmla="*/ 66675 w 171450"/>
              <a:gd name="connsiteY4" fmla="*/ 171229 h 171467"/>
              <a:gd name="connsiteX5" fmla="*/ 71438 w 171450"/>
              <a:gd name="connsiteY5" fmla="*/ 171450 h 171467"/>
              <a:gd name="connsiteX6" fmla="*/ 76200 w 171450"/>
              <a:gd name="connsiteY6" fmla="*/ 161925 h 171467"/>
              <a:gd name="connsiteX7" fmla="*/ 76200 w 171450"/>
              <a:gd name="connsiteY7" fmla="*/ 76200 h 171467"/>
              <a:gd name="connsiteX8" fmla="*/ 53340 w 171450"/>
              <a:gd name="connsiteY8" fmla="*/ 93345 h 171467"/>
              <a:gd name="connsiteX9" fmla="*/ 40005 w 171450"/>
              <a:gd name="connsiteY9" fmla="*/ 91440 h 171467"/>
              <a:gd name="connsiteX10" fmla="*/ 41910 w 171450"/>
              <a:gd name="connsiteY10" fmla="*/ 78105 h 171467"/>
              <a:gd name="connsiteX11" fmla="*/ 80010 w 171450"/>
              <a:gd name="connsiteY11" fmla="*/ 49530 h 171467"/>
              <a:gd name="connsiteX12" fmla="*/ 91440 w 171450"/>
              <a:gd name="connsiteY12" fmla="*/ 49530 h 171467"/>
              <a:gd name="connsiteX13" fmla="*/ 129540 w 171450"/>
              <a:gd name="connsiteY13" fmla="*/ 78105 h 171467"/>
              <a:gd name="connsiteX14" fmla="*/ 131445 w 171450"/>
              <a:gd name="connsiteY14" fmla="*/ 91440 h 171467"/>
              <a:gd name="connsiteX15" fmla="*/ 118110 w 171450"/>
              <a:gd name="connsiteY15" fmla="*/ 93345 h 171467"/>
              <a:gd name="connsiteX16" fmla="*/ 95250 w 171450"/>
              <a:gd name="connsiteY16" fmla="*/ 76200 h 171467"/>
              <a:gd name="connsiteX17" fmla="*/ 95250 w 171450"/>
              <a:gd name="connsiteY17" fmla="*/ 161925 h 171467"/>
              <a:gd name="connsiteX18" fmla="*/ 100013 w 171450"/>
              <a:gd name="connsiteY18" fmla="*/ 171450 h 171467"/>
              <a:gd name="connsiteX19" fmla="*/ 104775 w 171450"/>
              <a:gd name="connsiteY19" fmla="*/ 171229 h 171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71450" h="171467">
                <a:moveTo>
                  <a:pt x="104775" y="171229"/>
                </a:moveTo>
                <a:cubicBezTo>
                  <a:pt x="146577" y="164243"/>
                  <a:pt x="171450" y="132230"/>
                  <a:pt x="171450" y="85725"/>
                </a:cubicBezTo>
                <a:cubicBezTo>
                  <a:pt x="171450" y="32536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2230"/>
                  <a:pt x="24872" y="164243"/>
                  <a:pt x="66675" y="171229"/>
                </a:cubicBezTo>
                <a:cubicBezTo>
                  <a:pt x="68640" y="171557"/>
                  <a:pt x="71438" y="171450"/>
                  <a:pt x="71438" y="171450"/>
                </a:cubicBezTo>
                <a:cubicBezTo>
                  <a:pt x="76200" y="171450"/>
                  <a:pt x="76200" y="165705"/>
                  <a:pt x="76200" y="161925"/>
                </a:cubicBezTo>
                <a:lnTo>
                  <a:pt x="76200" y="76200"/>
                </a:lnTo>
                <a:lnTo>
                  <a:pt x="53340" y="93345"/>
                </a:lnTo>
                <a:cubicBezTo>
                  <a:pt x="49132" y="96501"/>
                  <a:pt x="43161" y="95649"/>
                  <a:pt x="40005" y="91440"/>
                </a:cubicBezTo>
                <a:cubicBezTo>
                  <a:pt x="36849" y="87231"/>
                  <a:pt x="37702" y="81261"/>
                  <a:pt x="41910" y="78105"/>
                </a:cubicBezTo>
                <a:lnTo>
                  <a:pt x="80010" y="49530"/>
                </a:lnTo>
                <a:cubicBezTo>
                  <a:pt x="83397" y="46990"/>
                  <a:pt x="88053" y="46990"/>
                  <a:pt x="91440" y="49530"/>
                </a:cubicBezTo>
                <a:lnTo>
                  <a:pt x="129540" y="78105"/>
                </a:lnTo>
                <a:cubicBezTo>
                  <a:pt x="133748" y="81261"/>
                  <a:pt x="134602" y="87231"/>
                  <a:pt x="131445" y="91440"/>
                </a:cubicBezTo>
                <a:cubicBezTo>
                  <a:pt x="128288" y="95649"/>
                  <a:pt x="122318" y="96501"/>
                  <a:pt x="118110" y="93345"/>
                </a:cubicBezTo>
                <a:lnTo>
                  <a:pt x="95250" y="76200"/>
                </a:lnTo>
                <a:cubicBezTo>
                  <a:pt x="95250" y="76200"/>
                  <a:pt x="95250" y="128447"/>
                  <a:pt x="95250" y="161925"/>
                </a:cubicBezTo>
                <a:cubicBezTo>
                  <a:pt x="95250" y="165705"/>
                  <a:pt x="95250" y="171450"/>
                  <a:pt x="100013" y="171450"/>
                </a:cubicBezTo>
                <a:cubicBezTo>
                  <a:pt x="100013" y="171450"/>
                  <a:pt x="102810" y="171557"/>
                  <a:pt x="104775" y="17122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Рисунок 15">
            <a:extLst>
              <a:ext uri="{FF2B5EF4-FFF2-40B4-BE49-F238E27FC236}">
                <a16:creationId xmlns:a16="http://schemas.microsoft.com/office/drawing/2014/main" id="{98917CA2-B25F-FCF0-7A04-99F98F55E702}"/>
              </a:ext>
            </a:extLst>
          </p:cNvPr>
          <p:cNvSpPr/>
          <p:nvPr/>
        </p:nvSpPr>
        <p:spPr>
          <a:xfrm rot="5400000">
            <a:off x="5494801" y="3114911"/>
            <a:ext cx="283088" cy="283116"/>
          </a:xfrm>
          <a:custGeom>
            <a:avLst/>
            <a:gdLst>
              <a:gd name="connsiteX0" fmla="*/ 104775 w 171450"/>
              <a:gd name="connsiteY0" fmla="*/ 171229 h 171467"/>
              <a:gd name="connsiteX1" fmla="*/ 171450 w 171450"/>
              <a:gd name="connsiteY1" fmla="*/ 85725 h 171467"/>
              <a:gd name="connsiteX2" fmla="*/ 85725 w 171450"/>
              <a:gd name="connsiteY2" fmla="*/ 0 h 171467"/>
              <a:gd name="connsiteX3" fmla="*/ 0 w 171450"/>
              <a:gd name="connsiteY3" fmla="*/ 85725 h 171467"/>
              <a:gd name="connsiteX4" fmla="*/ 66675 w 171450"/>
              <a:gd name="connsiteY4" fmla="*/ 171229 h 171467"/>
              <a:gd name="connsiteX5" fmla="*/ 71438 w 171450"/>
              <a:gd name="connsiteY5" fmla="*/ 171450 h 171467"/>
              <a:gd name="connsiteX6" fmla="*/ 76200 w 171450"/>
              <a:gd name="connsiteY6" fmla="*/ 161925 h 171467"/>
              <a:gd name="connsiteX7" fmla="*/ 76200 w 171450"/>
              <a:gd name="connsiteY7" fmla="*/ 76200 h 171467"/>
              <a:gd name="connsiteX8" fmla="*/ 53340 w 171450"/>
              <a:gd name="connsiteY8" fmla="*/ 93345 h 171467"/>
              <a:gd name="connsiteX9" fmla="*/ 40005 w 171450"/>
              <a:gd name="connsiteY9" fmla="*/ 91440 h 171467"/>
              <a:gd name="connsiteX10" fmla="*/ 41910 w 171450"/>
              <a:gd name="connsiteY10" fmla="*/ 78105 h 171467"/>
              <a:gd name="connsiteX11" fmla="*/ 80010 w 171450"/>
              <a:gd name="connsiteY11" fmla="*/ 49530 h 171467"/>
              <a:gd name="connsiteX12" fmla="*/ 91440 w 171450"/>
              <a:gd name="connsiteY12" fmla="*/ 49530 h 171467"/>
              <a:gd name="connsiteX13" fmla="*/ 129540 w 171450"/>
              <a:gd name="connsiteY13" fmla="*/ 78105 h 171467"/>
              <a:gd name="connsiteX14" fmla="*/ 131445 w 171450"/>
              <a:gd name="connsiteY14" fmla="*/ 91440 h 171467"/>
              <a:gd name="connsiteX15" fmla="*/ 118110 w 171450"/>
              <a:gd name="connsiteY15" fmla="*/ 93345 h 171467"/>
              <a:gd name="connsiteX16" fmla="*/ 95250 w 171450"/>
              <a:gd name="connsiteY16" fmla="*/ 76200 h 171467"/>
              <a:gd name="connsiteX17" fmla="*/ 95250 w 171450"/>
              <a:gd name="connsiteY17" fmla="*/ 161925 h 171467"/>
              <a:gd name="connsiteX18" fmla="*/ 100013 w 171450"/>
              <a:gd name="connsiteY18" fmla="*/ 171450 h 171467"/>
              <a:gd name="connsiteX19" fmla="*/ 104775 w 171450"/>
              <a:gd name="connsiteY19" fmla="*/ 171229 h 171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71450" h="171467">
                <a:moveTo>
                  <a:pt x="104775" y="171229"/>
                </a:moveTo>
                <a:cubicBezTo>
                  <a:pt x="146577" y="164243"/>
                  <a:pt x="171450" y="132230"/>
                  <a:pt x="171450" y="85725"/>
                </a:cubicBezTo>
                <a:cubicBezTo>
                  <a:pt x="171450" y="32536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2230"/>
                  <a:pt x="24872" y="164243"/>
                  <a:pt x="66675" y="171229"/>
                </a:cubicBezTo>
                <a:cubicBezTo>
                  <a:pt x="68640" y="171557"/>
                  <a:pt x="71438" y="171450"/>
                  <a:pt x="71438" y="171450"/>
                </a:cubicBezTo>
                <a:cubicBezTo>
                  <a:pt x="76200" y="171450"/>
                  <a:pt x="76200" y="165705"/>
                  <a:pt x="76200" y="161925"/>
                </a:cubicBezTo>
                <a:lnTo>
                  <a:pt x="76200" y="76200"/>
                </a:lnTo>
                <a:lnTo>
                  <a:pt x="53340" y="93345"/>
                </a:lnTo>
                <a:cubicBezTo>
                  <a:pt x="49132" y="96501"/>
                  <a:pt x="43161" y="95649"/>
                  <a:pt x="40005" y="91440"/>
                </a:cubicBezTo>
                <a:cubicBezTo>
                  <a:pt x="36849" y="87231"/>
                  <a:pt x="37702" y="81261"/>
                  <a:pt x="41910" y="78105"/>
                </a:cubicBezTo>
                <a:lnTo>
                  <a:pt x="80010" y="49530"/>
                </a:lnTo>
                <a:cubicBezTo>
                  <a:pt x="83397" y="46990"/>
                  <a:pt x="88053" y="46990"/>
                  <a:pt x="91440" y="49530"/>
                </a:cubicBezTo>
                <a:lnTo>
                  <a:pt x="129540" y="78105"/>
                </a:lnTo>
                <a:cubicBezTo>
                  <a:pt x="133748" y="81261"/>
                  <a:pt x="134602" y="87231"/>
                  <a:pt x="131445" y="91440"/>
                </a:cubicBezTo>
                <a:cubicBezTo>
                  <a:pt x="128288" y="95649"/>
                  <a:pt x="122318" y="96501"/>
                  <a:pt x="118110" y="93345"/>
                </a:cubicBezTo>
                <a:lnTo>
                  <a:pt x="95250" y="76200"/>
                </a:lnTo>
                <a:cubicBezTo>
                  <a:pt x="95250" y="76200"/>
                  <a:pt x="95250" y="128447"/>
                  <a:pt x="95250" y="161925"/>
                </a:cubicBezTo>
                <a:cubicBezTo>
                  <a:pt x="95250" y="165705"/>
                  <a:pt x="95250" y="171450"/>
                  <a:pt x="100013" y="171450"/>
                </a:cubicBezTo>
                <a:cubicBezTo>
                  <a:pt x="100013" y="171450"/>
                  <a:pt x="102810" y="171557"/>
                  <a:pt x="104775" y="17122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Рисунок 15">
            <a:extLst>
              <a:ext uri="{FF2B5EF4-FFF2-40B4-BE49-F238E27FC236}">
                <a16:creationId xmlns:a16="http://schemas.microsoft.com/office/drawing/2014/main" id="{80231280-FDE1-710E-1925-9A06384C61E2}"/>
              </a:ext>
            </a:extLst>
          </p:cNvPr>
          <p:cNvSpPr/>
          <p:nvPr/>
        </p:nvSpPr>
        <p:spPr>
          <a:xfrm rot="5400000">
            <a:off x="5494801" y="3882050"/>
            <a:ext cx="283088" cy="283116"/>
          </a:xfrm>
          <a:custGeom>
            <a:avLst/>
            <a:gdLst>
              <a:gd name="connsiteX0" fmla="*/ 104775 w 171450"/>
              <a:gd name="connsiteY0" fmla="*/ 171229 h 171467"/>
              <a:gd name="connsiteX1" fmla="*/ 171450 w 171450"/>
              <a:gd name="connsiteY1" fmla="*/ 85725 h 171467"/>
              <a:gd name="connsiteX2" fmla="*/ 85725 w 171450"/>
              <a:gd name="connsiteY2" fmla="*/ 0 h 171467"/>
              <a:gd name="connsiteX3" fmla="*/ 0 w 171450"/>
              <a:gd name="connsiteY3" fmla="*/ 85725 h 171467"/>
              <a:gd name="connsiteX4" fmla="*/ 66675 w 171450"/>
              <a:gd name="connsiteY4" fmla="*/ 171229 h 171467"/>
              <a:gd name="connsiteX5" fmla="*/ 71438 w 171450"/>
              <a:gd name="connsiteY5" fmla="*/ 171450 h 171467"/>
              <a:gd name="connsiteX6" fmla="*/ 76200 w 171450"/>
              <a:gd name="connsiteY6" fmla="*/ 161925 h 171467"/>
              <a:gd name="connsiteX7" fmla="*/ 76200 w 171450"/>
              <a:gd name="connsiteY7" fmla="*/ 76200 h 171467"/>
              <a:gd name="connsiteX8" fmla="*/ 53340 w 171450"/>
              <a:gd name="connsiteY8" fmla="*/ 93345 h 171467"/>
              <a:gd name="connsiteX9" fmla="*/ 40005 w 171450"/>
              <a:gd name="connsiteY9" fmla="*/ 91440 h 171467"/>
              <a:gd name="connsiteX10" fmla="*/ 41910 w 171450"/>
              <a:gd name="connsiteY10" fmla="*/ 78105 h 171467"/>
              <a:gd name="connsiteX11" fmla="*/ 80010 w 171450"/>
              <a:gd name="connsiteY11" fmla="*/ 49530 h 171467"/>
              <a:gd name="connsiteX12" fmla="*/ 91440 w 171450"/>
              <a:gd name="connsiteY12" fmla="*/ 49530 h 171467"/>
              <a:gd name="connsiteX13" fmla="*/ 129540 w 171450"/>
              <a:gd name="connsiteY13" fmla="*/ 78105 h 171467"/>
              <a:gd name="connsiteX14" fmla="*/ 131445 w 171450"/>
              <a:gd name="connsiteY14" fmla="*/ 91440 h 171467"/>
              <a:gd name="connsiteX15" fmla="*/ 118110 w 171450"/>
              <a:gd name="connsiteY15" fmla="*/ 93345 h 171467"/>
              <a:gd name="connsiteX16" fmla="*/ 95250 w 171450"/>
              <a:gd name="connsiteY16" fmla="*/ 76200 h 171467"/>
              <a:gd name="connsiteX17" fmla="*/ 95250 w 171450"/>
              <a:gd name="connsiteY17" fmla="*/ 161925 h 171467"/>
              <a:gd name="connsiteX18" fmla="*/ 100013 w 171450"/>
              <a:gd name="connsiteY18" fmla="*/ 171450 h 171467"/>
              <a:gd name="connsiteX19" fmla="*/ 104775 w 171450"/>
              <a:gd name="connsiteY19" fmla="*/ 171229 h 171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71450" h="171467">
                <a:moveTo>
                  <a:pt x="104775" y="171229"/>
                </a:moveTo>
                <a:cubicBezTo>
                  <a:pt x="146577" y="164243"/>
                  <a:pt x="171450" y="132230"/>
                  <a:pt x="171450" y="85725"/>
                </a:cubicBezTo>
                <a:cubicBezTo>
                  <a:pt x="171450" y="32536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2230"/>
                  <a:pt x="24872" y="164243"/>
                  <a:pt x="66675" y="171229"/>
                </a:cubicBezTo>
                <a:cubicBezTo>
                  <a:pt x="68640" y="171557"/>
                  <a:pt x="71438" y="171450"/>
                  <a:pt x="71438" y="171450"/>
                </a:cubicBezTo>
                <a:cubicBezTo>
                  <a:pt x="76200" y="171450"/>
                  <a:pt x="76200" y="165705"/>
                  <a:pt x="76200" y="161925"/>
                </a:cubicBezTo>
                <a:lnTo>
                  <a:pt x="76200" y="76200"/>
                </a:lnTo>
                <a:lnTo>
                  <a:pt x="53340" y="93345"/>
                </a:lnTo>
                <a:cubicBezTo>
                  <a:pt x="49132" y="96501"/>
                  <a:pt x="43161" y="95649"/>
                  <a:pt x="40005" y="91440"/>
                </a:cubicBezTo>
                <a:cubicBezTo>
                  <a:pt x="36849" y="87231"/>
                  <a:pt x="37702" y="81261"/>
                  <a:pt x="41910" y="78105"/>
                </a:cubicBezTo>
                <a:lnTo>
                  <a:pt x="80010" y="49530"/>
                </a:lnTo>
                <a:cubicBezTo>
                  <a:pt x="83397" y="46990"/>
                  <a:pt x="88053" y="46990"/>
                  <a:pt x="91440" y="49530"/>
                </a:cubicBezTo>
                <a:lnTo>
                  <a:pt x="129540" y="78105"/>
                </a:lnTo>
                <a:cubicBezTo>
                  <a:pt x="133748" y="81261"/>
                  <a:pt x="134602" y="87231"/>
                  <a:pt x="131445" y="91440"/>
                </a:cubicBezTo>
                <a:cubicBezTo>
                  <a:pt x="128288" y="95649"/>
                  <a:pt x="122318" y="96501"/>
                  <a:pt x="118110" y="93345"/>
                </a:cubicBezTo>
                <a:lnTo>
                  <a:pt x="95250" y="76200"/>
                </a:lnTo>
                <a:cubicBezTo>
                  <a:pt x="95250" y="76200"/>
                  <a:pt x="95250" y="128447"/>
                  <a:pt x="95250" y="161925"/>
                </a:cubicBezTo>
                <a:cubicBezTo>
                  <a:pt x="95250" y="165705"/>
                  <a:pt x="95250" y="171450"/>
                  <a:pt x="100013" y="171450"/>
                </a:cubicBezTo>
                <a:cubicBezTo>
                  <a:pt x="100013" y="171450"/>
                  <a:pt x="102810" y="171557"/>
                  <a:pt x="104775" y="17122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Рисунок 15">
            <a:extLst>
              <a:ext uri="{FF2B5EF4-FFF2-40B4-BE49-F238E27FC236}">
                <a16:creationId xmlns:a16="http://schemas.microsoft.com/office/drawing/2014/main" id="{D6202B59-C6C3-059B-D3F1-C849FF6DB169}"/>
              </a:ext>
            </a:extLst>
          </p:cNvPr>
          <p:cNvSpPr/>
          <p:nvPr/>
        </p:nvSpPr>
        <p:spPr>
          <a:xfrm rot="5400000">
            <a:off x="5494801" y="4649189"/>
            <a:ext cx="283088" cy="283116"/>
          </a:xfrm>
          <a:custGeom>
            <a:avLst/>
            <a:gdLst>
              <a:gd name="connsiteX0" fmla="*/ 104775 w 171450"/>
              <a:gd name="connsiteY0" fmla="*/ 171229 h 171467"/>
              <a:gd name="connsiteX1" fmla="*/ 171450 w 171450"/>
              <a:gd name="connsiteY1" fmla="*/ 85725 h 171467"/>
              <a:gd name="connsiteX2" fmla="*/ 85725 w 171450"/>
              <a:gd name="connsiteY2" fmla="*/ 0 h 171467"/>
              <a:gd name="connsiteX3" fmla="*/ 0 w 171450"/>
              <a:gd name="connsiteY3" fmla="*/ 85725 h 171467"/>
              <a:gd name="connsiteX4" fmla="*/ 66675 w 171450"/>
              <a:gd name="connsiteY4" fmla="*/ 171229 h 171467"/>
              <a:gd name="connsiteX5" fmla="*/ 71438 w 171450"/>
              <a:gd name="connsiteY5" fmla="*/ 171450 h 171467"/>
              <a:gd name="connsiteX6" fmla="*/ 76200 w 171450"/>
              <a:gd name="connsiteY6" fmla="*/ 161925 h 171467"/>
              <a:gd name="connsiteX7" fmla="*/ 76200 w 171450"/>
              <a:gd name="connsiteY7" fmla="*/ 76200 h 171467"/>
              <a:gd name="connsiteX8" fmla="*/ 53340 w 171450"/>
              <a:gd name="connsiteY8" fmla="*/ 93345 h 171467"/>
              <a:gd name="connsiteX9" fmla="*/ 40005 w 171450"/>
              <a:gd name="connsiteY9" fmla="*/ 91440 h 171467"/>
              <a:gd name="connsiteX10" fmla="*/ 41910 w 171450"/>
              <a:gd name="connsiteY10" fmla="*/ 78105 h 171467"/>
              <a:gd name="connsiteX11" fmla="*/ 80010 w 171450"/>
              <a:gd name="connsiteY11" fmla="*/ 49530 h 171467"/>
              <a:gd name="connsiteX12" fmla="*/ 91440 w 171450"/>
              <a:gd name="connsiteY12" fmla="*/ 49530 h 171467"/>
              <a:gd name="connsiteX13" fmla="*/ 129540 w 171450"/>
              <a:gd name="connsiteY13" fmla="*/ 78105 h 171467"/>
              <a:gd name="connsiteX14" fmla="*/ 131445 w 171450"/>
              <a:gd name="connsiteY14" fmla="*/ 91440 h 171467"/>
              <a:gd name="connsiteX15" fmla="*/ 118110 w 171450"/>
              <a:gd name="connsiteY15" fmla="*/ 93345 h 171467"/>
              <a:gd name="connsiteX16" fmla="*/ 95250 w 171450"/>
              <a:gd name="connsiteY16" fmla="*/ 76200 h 171467"/>
              <a:gd name="connsiteX17" fmla="*/ 95250 w 171450"/>
              <a:gd name="connsiteY17" fmla="*/ 161925 h 171467"/>
              <a:gd name="connsiteX18" fmla="*/ 100013 w 171450"/>
              <a:gd name="connsiteY18" fmla="*/ 171450 h 171467"/>
              <a:gd name="connsiteX19" fmla="*/ 104775 w 171450"/>
              <a:gd name="connsiteY19" fmla="*/ 171229 h 171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71450" h="171467">
                <a:moveTo>
                  <a:pt x="104775" y="171229"/>
                </a:moveTo>
                <a:cubicBezTo>
                  <a:pt x="146577" y="164243"/>
                  <a:pt x="171450" y="132230"/>
                  <a:pt x="171450" y="85725"/>
                </a:cubicBezTo>
                <a:cubicBezTo>
                  <a:pt x="171450" y="32536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2230"/>
                  <a:pt x="24872" y="164243"/>
                  <a:pt x="66675" y="171229"/>
                </a:cubicBezTo>
                <a:cubicBezTo>
                  <a:pt x="68640" y="171557"/>
                  <a:pt x="71438" y="171450"/>
                  <a:pt x="71438" y="171450"/>
                </a:cubicBezTo>
                <a:cubicBezTo>
                  <a:pt x="76200" y="171450"/>
                  <a:pt x="76200" y="165705"/>
                  <a:pt x="76200" y="161925"/>
                </a:cubicBezTo>
                <a:lnTo>
                  <a:pt x="76200" y="76200"/>
                </a:lnTo>
                <a:lnTo>
                  <a:pt x="53340" y="93345"/>
                </a:lnTo>
                <a:cubicBezTo>
                  <a:pt x="49132" y="96501"/>
                  <a:pt x="43161" y="95649"/>
                  <a:pt x="40005" y="91440"/>
                </a:cubicBezTo>
                <a:cubicBezTo>
                  <a:pt x="36849" y="87231"/>
                  <a:pt x="37702" y="81261"/>
                  <a:pt x="41910" y="78105"/>
                </a:cubicBezTo>
                <a:lnTo>
                  <a:pt x="80010" y="49530"/>
                </a:lnTo>
                <a:cubicBezTo>
                  <a:pt x="83397" y="46990"/>
                  <a:pt x="88053" y="46990"/>
                  <a:pt x="91440" y="49530"/>
                </a:cubicBezTo>
                <a:lnTo>
                  <a:pt x="129540" y="78105"/>
                </a:lnTo>
                <a:cubicBezTo>
                  <a:pt x="133748" y="81261"/>
                  <a:pt x="134602" y="87231"/>
                  <a:pt x="131445" y="91440"/>
                </a:cubicBezTo>
                <a:cubicBezTo>
                  <a:pt x="128288" y="95649"/>
                  <a:pt x="122318" y="96501"/>
                  <a:pt x="118110" y="93345"/>
                </a:cubicBezTo>
                <a:lnTo>
                  <a:pt x="95250" y="76200"/>
                </a:lnTo>
                <a:cubicBezTo>
                  <a:pt x="95250" y="76200"/>
                  <a:pt x="95250" y="128447"/>
                  <a:pt x="95250" y="161925"/>
                </a:cubicBezTo>
                <a:cubicBezTo>
                  <a:pt x="95250" y="165705"/>
                  <a:pt x="95250" y="171450"/>
                  <a:pt x="100013" y="171450"/>
                </a:cubicBezTo>
                <a:cubicBezTo>
                  <a:pt x="100013" y="171450"/>
                  <a:pt x="102810" y="171557"/>
                  <a:pt x="104775" y="17122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5AFD288B-9F5D-62EA-4A22-E0416605E7F6}"/>
              </a:ext>
            </a:extLst>
          </p:cNvPr>
          <p:cNvSpPr/>
          <p:nvPr/>
        </p:nvSpPr>
        <p:spPr>
          <a:xfrm rot="5400000">
            <a:off x="5494801" y="5509614"/>
            <a:ext cx="283088" cy="283116"/>
          </a:xfrm>
          <a:custGeom>
            <a:avLst/>
            <a:gdLst>
              <a:gd name="connsiteX0" fmla="*/ 104775 w 171450"/>
              <a:gd name="connsiteY0" fmla="*/ 171229 h 171467"/>
              <a:gd name="connsiteX1" fmla="*/ 171450 w 171450"/>
              <a:gd name="connsiteY1" fmla="*/ 85725 h 171467"/>
              <a:gd name="connsiteX2" fmla="*/ 85725 w 171450"/>
              <a:gd name="connsiteY2" fmla="*/ 0 h 171467"/>
              <a:gd name="connsiteX3" fmla="*/ 0 w 171450"/>
              <a:gd name="connsiteY3" fmla="*/ 85725 h 171467"/>
              <a:gd name="connsiteX4" fmla="*/ 66675 w 171450"/>
              <a:gd name="connsiteY4" fmla="*/ 171229 h 171467"/>
              <a:gd name="connsiteX5" fmla="*/ 71438 w 171450"/>
              <a:gd name="connsiteY5" fmla="*/ 171450 h 171467"/>
              <a:gd name="connsiteX6" fmla="*/ 76200 w 171450"/>
              <a:gd name="connsiteY6" fmla="*/ 161925 h 171467"/>
              <a:gd name="connsiteX7" fmla="*/ 76200 w 171450"/>
              <a:gd name="connsiteY7" fmla="*/ 76200 h 171467"/>
              <a:gd name="connsiteX8" fmla="*/ 53340 w 171450"/>
              <a:gd name="connsiteY8" fmla="*/ 93345 h 171467"/>
              <a:gd name="connsiteX9" fmla="*/ 40005 w 171450"/>
              <a:gd name="connsiteY9" fmla="*/ 91440 h 171467"/>
              <a:gd name="connsiteX10" fmla="*/ 41910 w 171450"/>
              <a:gd name="connsiteY10" fmla="*/ 78105 h 171467"/>
              <a:gd name="connsiteX11" fmla="*/ 80010 w 171450"/>
              <a:gd name="connsiteY11" fmla="*/ 49530 h 171467"/>
              <a:gd name="connsiteX12" fmla="*/ 91440 w 171450"/>
              <a:gd name="connsiteY12" fmla="*/ 49530 h 171467"/>
              <a:gd name="connsiteX13" fmla="*/ 129540 w 171450"/>
              <a:gd name="connsiteY13" fmla="*/ 78105 h 171467"/>
              <a:gd name="connsiteX14" fmla="*/ 131445 w 171450"/>
              <a:gd name="connsiteY14" fmla="*/ 91440 h 171467"/>
              <a:gd name="connsiteX15" fmla="*/ 118110 w 171450"/>
              <a:gd name="connsiteY15" fmla="*/ 93345 h 171467"/>
              <a:gd name="connsiteX16" fmla="*/ 95250 w 171450"/>
              <a:gd name="connsiteY16" fmla="*/ 76200 h 171467"/>
              <a:gd name="connsiteX17" fmla="*/ 95250 w 171450"/>
              <a:gd name="connsiteY17" fmla="*/ 161925 h 171467"/>
              <a:gd name="connsiteX18" fmla="*/ 100013 w 171450"/>
              <a:gd name="connsiteY18" fmla="*/ 171450 h 171467"/>
              <a:gd name="connsiteX19" fmla="*/ 104775 w 171450"/>
              <a:gd name="connsiteY19" fmla="*/ 171229 h 171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71450" h="171467">
                <a:moveTo>
                  <a:pt x="104775" y="171229"/>
                </a:moveTo>
                <a:cubicBezTo>
                  <a:pt x="146577" y="164243"/>
                  <a:pt x="171450" y="132230"/>
                  <a:pt x="171450" y="85725"/>
                </a:cubicBezTo>
                <a:cubicBezTo>
                  <a:pt x="171450" y="32536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2230"/>
                  <a:pt x="24872" y="164243"/>
                  <a:pt x="66675" y="171229"/>
                </a:cubicBezTo>
                <a:cubicBezTo>
                  <a:pt x="68640" y="171557"/>
                  <a:pt x="71438" y="171450"/>
                  <a:pt x="71438" y="171450"/>
                </a:cubicBezTo>
                <a:cubicBezTo>
                  <a:pt x="76200" y="171450"/>
                  <a:pt x="76200" y="165705"/>
                  <a:pt x="76200" y="161925"/>
                </a:cubicBezTo>
                <a:lnTo>
                  <a:pt x="76200" y="76200"/>
                </a:lnTo>
                <a:lnTo>
                  <a:pt x="53340" y="93345"/>
                </a:lnTo>
                <a:cubicBezTo>
                  <a:pt x="49132" y="96501"/>
                  <a:pt x="43161" y="95649"/>
                  <a:pt x="40005" y="91440"/>
                </a:cubicBezTo>
                <a:cubicBezTo>
                  <a:pt x="36849" y="87231"/>
                  <a:pt x="37702" y="81261"/>
                  <a:pt x="41910" y="78105"/>
                </a:cubicBezTo>
                <a:lnTo>
                  <a:pt x="80010" y="49530"/>
                </a:lnTo>
                <a:cubicBezTo>
                  <a:pt x="83397" y="46990"/>
                  <a:pt x="88053" y="46990"/>
                  <a:pt x="91440" y="49530"/>
                </a:cubicBezTo>
                <a:lnTo>
                  <a:pt x="129540" y="78105"/>
                </a:lnTo>
                <a:cubicBezTo>
                  <a:pt x="133748" y="81261"/>
                  <a:pt x="134602" y="87231"/>
                  <a:pt x="131445" y="91440"/>
                </a:cubicBezTo>
                <a:cubicBezTo>
                  <a:pt x="128288" y="95649"/>
                  <a:pt x="122318" y="96501"/>
                  <a:pt x="118110" y="93345"/>
                </a:cubicBezTo>
                <a:lnTo>
                  <a:pt x="95250" y="76200"/>
                </a:lnTo>
                <a:cubicBezTo>
                  <a:pt x="95250" y="76200"/>
                  <a:pt x="95250" y="128447"/>
                  <a:pt x="95250" y="161925"/>
                </a:cubicBezTo>
                <a:cubicBezTo>
                  <a:pt x="95250" y="165705"/>
                  <a:pt x="95250" y="171450"/>
                  <a:pt x="100013" y="171450"/>
                </a:cubicBezTo>
                <a:cubicBezTo>
                  <a:pt x="100013" y="171450"/>
                  <a:pt x="102810" y="171557"/>
                  <a:pt x="104775" y="17122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Прямоугольник: скругленные углы 2">
            <a:extLst>
              <a:ext uri="{FF2B5EF4-FFF2-40B4-BE49-F238E27FC236}">
                <a16:creationId xmlns:a16="http://schemas.microsoft.com/office/drawing/2014/main" id="{53612E43-95AD-AEA2-9533-52F8365B5494}"/>
              </a:ext>
            </a:extLst>
          </p:cNvPr>
          <p:cNvSpPr/>
          <p:nvPr/>
        </p:nvSpPr>
        <p:spPr>
          <a:xfrm>
            <a:off x="6252520" y="1413982"/>
            <a:ext cx="5299718" cy="618003"/>
          </a:xfrm>
          <a:prstGeom prst="roundRect">
            <a:avLst>
              <a:gd name="adj" fmla="val 25852"/>
            </a:avLst>
          </a:prstGeom>
          <a:solidFill>
            <a:schemeClr val="bg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ассмотрение базовых концепций </a:t>
            </a:r>
            <a:r>
              <a:rPr kumimoji="0" lang="en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rflow</a:t>
            </a: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Прямоугольник: скругленные углы 3">
            <a:extLst>
              <a:ext uri="{FF2B5EF4-FFF2-40B4-BE49-F238E27FC236}">
                <a16:creationId xmlns:a16="http://schemas.microsoft.com/office/drawing/2014/main" id="{A5DE90BA-78A8-B83E-8186-6634F98581A3}"/>
              </a:ext>
            </a:extLst>
          </p:cNvPr>
          <p:cNvSpPr/>
          <p:nvPr/>
        </p:nvSpPr>
        <p:spPr>
          <a:xfrm>
            <a:off x="6252520" y="2181121"/>
            <a:ext cx="5299718" cy="618003"/>
          </a:xfrm>
          <a:prstGeom prst="roundRect">
            <a:avLst>
              <a:gd name="adj" fmla="val 25852"/>
            </a:avLst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аписание базового </a:t>
            </a:r>
            <a:r>
              <a:rPr kumimoji="0" lang="en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G</a:t>
            </a: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рямоугольник: скругленные углы 4">
            <a:extLst>
              <a:ext uri="{FF2B5EF4-FFF2-40B4-BE49-F238E27FC236}">
                <a16:creationId xmlns:a16="http://schemas.microsoft.com/office/drawing/2014/main" id="{916BEF53-0667-CC63-B91C-1F30D9F47E03}"/>
              </a:ext>
            </a:extLst>
          </p:cNvPr>
          <p:cNvSpPr/>
          <p:nvPr/>
        </p:nvSpPr>
        <p:spPr>
          <a:xfrm>
            <a:off x="6252520" y="2948260"/>
            <a:ext cx="5299718" cy="618003"/>
          </a:xfrm>
          <a:prstGeom prst="roundRect">
            <a:avLst>
              <a:gd name="adj" fmla="val 25852"/>
            </a:avLst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аписание продвинутого </a:t>
            </a:r>
            <a:r>
              <a:rPr kumimoji="0" lang="en" sz="18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G</a:t>
            </a: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Рисунок 15">
            <a:extLst>
              <a:ext uri="{FF2B5EF4-FFF2-40B4-BE49-F238E27FC236}">
                <a16:creationId xmlns:a16="http://schemas.microsoft.com/office/drawing/2014/main" id="{1D4C81A9-7E59-C0D2-50AC-2C42CED396CA}"/>
              </a:ext>
            </a:extLst>
          </p:cNvPr>
          <p:cNvSpPr/>
          <p:nvPr/>
        </p:nvSpPr>
        <p:spPr>
          <a:xfrm rot="5400000">
            <a:off x="11107559" y="1581425"/>
            <a:ext cx="283088" cy="283116"/>
          </a:xfrm>
          <a:custGeom>
            <a:avLst/>
            <a:gdLst>
              <a:gd name="connsiteX0" fmla="*/ 104775 w 171450"/>
              <a:gd name="connsiteY0" fmla="*/ 171229 h 171467"/>
              <a:gd name="connsiteX1" fmla="*/ 171450 w 171450"/>
              <a:gd name="connsiteY1" fmla="*/ 85725 h 171467"/>
              <a:gd name="connsiteX2" fmla="*/ 85725 w 171450"/>
              <a:gd name="connsiteY2" fmla="*/ 0 h 171467"/>
              <a:gd name="connsiteX3" fmla="*/ 0 w 171450"/>
              <a:gd name="connsiteY3" fmla="*/ 85725 h 171467"/>
              <a:gd name="connsiteX4" fmla="*/ 66675 w 171450"/>
              <a:gd name="connsiteY4" fmla="*/ 171229 h 171467"/>
              <a:gd name="connsiteX5" fmla="*/ 71438 w 171450"/>
              <a:gd name="connsiteY5" fmla="*/ 171450 h 171467"/>
              <a:gd name="connsiteX6" fmla="*/ 76200 w 171450"/>
              <a:gd name="connsiteY6" fmla="*/ 161925 h 171467"/>
              <a:gd name="connsiteX7" fmla="*/ 76200 w 171450"/>
              <a:gd name="connsiteY7" fmla="*/ 76200 h 171467"/>
              <a:gd name="connsiteX8" fmla="*/ 53340 w 171450"/>
              <a:gd name="connsiteY8" fmla="*/ 93345 h 171467"/>
              <a:gd name="connsiteX9" fmla="*/ 40005 w 171450"/>
              <a:gd name="connsiteY9" fmla="*/ 91440 h 171467"/>
              <a:gd name="connsiteX10" fmla="*/ 41910 w 171450"/>
              <a:gd name="connsiteY10" fmla="*/ 78105 h 171467"/>
              <a:gd name="connsiteX11" fmla="*/ 80010 w 171450"/>
              <a:gd name="connsiteY11" fmla="*/ 49530 h 171467"/>
              <a:gd name="connsiteX12" fmla="*/ 91440 w 171450"/>
              <a:gd name="connsiteY12" fmla="*/ 49530 h 171467"/>
              <a:gd name="connsiteX13" fmla="*/ 129540 w 171450"/>
              <a:gd name="connsiteY13" fmla="*/ 78105 h 171467"/>
              <a:gd name="connsiteX14" fmla="*/ 131445 w 171450"/>
              <a:gd name="connsiteY14" fmla="*/ 91440 h 171467"/>
              <a:gd name="connsiteX15" fmla="*/ 118110 w 171450"/>
              <a:gd name="connsiteY15" fmla="*/ 93345 h 171467"/>
              <a:gd name="connsiteX16" fmla="*/ 95250 w 171450"/>
              <a:gd name="connsiteY16" fmla="*/ 76200 h 171467"/>
              <a:gd name="connsiteX17" fmla="*/ 95250 w 171450"/>
              <a:gd name="connsiteY17" fmla="*/ 161925 h 171467"/>
              <a:gd name="connsiteX18" fmla="*/ 100013 w 171450"/>
              <a:gd name="connsiteY18" fmla="*/ 171450 h 171467"/>
              <a:gd name="connsiteX19" fmla="*/ 104775 w 171450"/>
              <a:gd name="connsiteY19" fmla="*/ 171229 h 171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71450" h="171467">
                <a:moveTo>
                  <a:pt x="104775" y="171229"/>
                </a:moveTo>
                <a:cubicBezTo>
                  <a:pt x="146577" y="164243"/>
                  <a:pt x="171450" y="132230"/>
                  <a:pt x="171450" y="85725"/>
                </a:cubicBezTo>
                <a:cubicBezTo>
                  <a:pt x="171450" y="32536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2230"/>
                  <a:pt x="24872" y="164243"/>
                  <a:pt x="66675" y="171229"/>
                </a:cubicBezTo>
                <a:cubicBezTo>
                  <a:pt x="68640" y="171557"/>
                  <a:pt x="71438" y="171450"/>
                  <a:pt x="71438" y="171450"/>
                </a:cubicBezTo>
                <a:cubicBezTo>
                  <a:pt x="76200" y="171450"/>
                  <a:pt x="76200" y="165705"/>
                  <a:pt x="76200" y="161925"/>
                </a:cubicBezTo>
                <a:lnTo>
                  <a:pt x="76200" y="76200"/>
                </a:lnTo>
                <a:lnTo>
                  <a:pt x="53340" y="93345"/>
                </a:lnTo>
                <a:cubicBezTo>
                  <a:pt x="49132" y="96501"/>
                  <a:pt x="43161" y="95649"/>
                  <a:pt x="40005" y="91440"/>
                </a:cubicBezTo>
                <a:cubicBezTo>
                  <a:pt x="36849" y="87231"/>
                  <a:pt x="37702" y="81261"/>
                  <a:pt x="41910" y="78105"/>
                </a:cubicBezTo>
                <a:lnTo>
                  <a:pt x="80010" y="49530"/>
                </a:lnTo>
                <a:cubicBezTo>
                  <a:pt x="83397" y="46990"/>
                  <a:pt x="88053" y="46990"/>
                  <a:pt x="91440" y="49530"/>
                </a:cubicBezTo>
                <a:lnTo>
                  <a:pt x="129540" y="78105"/>
                </a:lnTo>
                <a:cubicBezTo>
                  <a:pt x="133748" y="81261"/>
                  <a:pt x="134602" y="87231"/>
                  <a:pt x="131445" y="91440"/>
                </a:cubicBezTo>
                <a:cubicBezTo>
                  <a:pt x="128288" y="95649"/>
                  <a:pt x="122318" y="96501"/>
                  <a:pt x="118110" y="93345"/>
                </a:cubicBezTo>
                <a:lnTo>
                  <a:pt x="95250" y="76200"/>
                </a:lnTo>
                <a:cubicBezTo>
                  <a:pt x="95250" y="76200"/>
                  <a:pt x="95250" y="128447"/>
                  <a:pt x="95250" y="161925"/>
                </a:cubicBezTo>
                <a:cubicBezTo>
                  <a:pt x="95250" y="165705"/>
                  <a:pt x="95250" y="171450"/>
                  <a:pt x="100013" y="171450"/>
                </a:cubicBezTo>
                <a:cubicBezTo>
                  <a:pt x="100013" y="171450"/>
                  <a:pt x="102810" y="171557"/>
                  <a:pt x="104775" y="17122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Рисунок 15">
            <a:extLst>
              <a:ext uri="{FF2B5EF4-FFF2-40B4-BE49-F238E27FC236}">
                <a16:creationId xmlns:a16="http://schemas.microsoft.com/office/drawing/2014/main" id="{3B264B3B-AEEA-1939-08A5-1463075D06A0}"/>
              </a:ext>
            </a:extLst>
          </p:cNvPr>
          <p:cNvSpPr/>
          <p:nvPr/>
        </p:nvSpPr>
        <p:spPr>
          <a:xfrm rot="5400000">
            <a:off x="11107559" y="2348564"/>
            <a:ext cx="283088" cy="283116"/>
          </a:xfrm>
          <a:custGeom>
            <a:avLst/>
            <a:gdLst>
              <a:gd name="connsiteX0" fmla="*/ 104775 w 171450"/>
              <a:gd name="connsiteY0" fmla="*/ 171229 h 171467"/>
              <a:gd name="connsiteX1" fmla="*/ 171450 w 171450"/>
              <a:gd name="connsiteY1" fmla="*/ 85725 h 171467"/>
              <a:gd name="connsiteX2" fmla="*/ 85725 w 171450"/>
              <a:gd name="connsiteY2" fmla="*/ 0 h 171467"/>
              <a:gd name="connsiteX3" fmla="*/ 0 w 171450"/>
              <a:gd name="connsiteY3" fmla="*/ 85725 h 171467"/>
              <a:gd name="connsiteX4" fmla="*/ 66675 w 171450"/>
              <a:gd name="connsiteY4" fmla="*/ 171229 h 171467"/>
              <a:gd name="connsiteX5" fmla="*/ 71438 w 171450"/>
              <a:gd name="connsiteY5" fmla="*/ 171450 h 171467"/>
              <a:gd name="connsiteX6" fmla="*/ 76200 w 171450"/>
              <a:gd name="connsiteY6" fmla="*/ 161925 h 171467"/>
              <a:gd name="connsiteX7" fmla="*/ 76200 w 171450"/>
              <a:gd name="connsiteY7" fmla="*/ 76200 h 171467"/>
              <a:gd name="connsiteX8" fmla="*/ 53340 w 171450"/>
              <a:gd name="connsiteY8" fmla="*/ 93345 h 171467"/>
              <a:gd name="connsiteX9" fmla="*/ 40005 w 171450"/>
              <a:gd name="connsiteY9" fmla="*/ 91440 h 171467"/>
              <a:gd name="connsiteX10" fmla="*/ 41910 w 171450"/>
              <a:gd name="connsiteY10" fmla="*/ 78105 h 171467"/>
              <a:gd name="connsiteX11" fmla="*/ 80010 w 171450"/>
              <a:gd name="connsiteY11" fmla="*/ 49530 h 171467"/>
              <a:gd name="connsiteX12" fmla="*/ 91440 w 171450"/>
              <a:gd name="connsiteY12" fmla="*/ 49530 h 171467"/>
              <a:gd name="connsiteX13" fmla="*/ 129540 w 171450"/>
              <a:gd name="connsiteY13" fmla="*/ 78105 h 171467"/>
              <a:gd name="connsiteX14" fmla="*/ 131445 w 171450"/>
              <a:gd name="connsiteY14" fmla="*/ 91440 h 171467"/>
              <a:gd name="connsiteX15" fmla="*/ 118110 w 171450"/>
              <a:gd name="connsiteY15" fmla="*/ 93345 h 171467"/>
              <a:gd name="connsiteX16" fmla="*/ 95250 w 171450"/>
              <a:gd name="connsiteY16" fmla="*/ 76200 h 171467"/>
              <a:gd name="connsiteX17" fmla="*/ 95250 w 171450"/>
              <a:gd name="connsiteY17" fmla="*/ 161925 h 171467"/>
              <a:gd name="connsiteX18" fmla="*/ 100013 w 171450"/>
              <a:gd name="connsiteY18" fmla="*/ 171450 h 171467"/>
              <a:gd name="connsiteX19" fmla="*/ 104775 w 171450"/>
              <a:gd name="connsiteY19" fmla="*/ 171229 h 171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71450" h="171467">
                <a:moveTo>
                  <a:pt x="104775" y="171229"/>
                </a:moveTo>
                <a:cubicBezTo>
                  <a:pt x="146577" y="164243"/>
                  <a:pt x="171450" y="132230"/>
                  <a:pt x="171450" y="85725"/>
                </a:cubicBezTo>
                <a:cubicBezTo>
                  <a:pt x="171450" y="32536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2230"/>
                  <a:pt x="24872" y="164243"/>
                  <a:pt x="66675" y="171229"/>
                </a:cubicBezTo>
                <a:cubicBezTo>
                  <a:pt x="68640" y="171557"/>
                  <a:pt x="71438" y="171450"/>
                  <a:pt x="71438" y="171450"/>
                </a:cubicBezTo>
                <a:cubicBezTo>
                  <a:pt x="76200" y="171450"/>
                  <a:pt x="76200" y="165705"/>
                  <a:pt x="76200" y="161925"/>
                </a:cubicBezTo>
                <a:lnTo>
                  <a:pt x="76200" y="76200"/>
                </a:lnTo>
                <a:lnTo>
                  <a:pt x="53340" y="93345"/>
                </a:lnTo>
                <a:cubicBezTo>
                  <a:pt x="49132" y="96501"/>
                  <a:pt x="43161" y="95649"/>
                  <a:pt x="40005" y="91440"/>
                </a:cubicBezTo>
                <a:cubicBezTo>
                  <a:pt x="36849" y="87231"/>
                  <a:pt x="37702" y="81261"/>
                  <a:pt x="41910" y="78105"/>
                </a:cubicBezTo>
                <a:lnTo>
                  <a:pt x="80010" y="49530"/>
                </a:lnTo>
                <a:cubicBezTo>
                  <a:pt x="83397" y="46990"/>
                  <a:pt x="88053" y="46990"/>
                  <a:pt x="91440" y="49530"/>
                </a:cubicBezTo>
                <a:lnTo>
                  <a:pt x="129540" y="78105"/>
                </a:lnTo>
                <a:cubicBezTo>
                  <a:pt x="133748" y="81261"/>
                  <a:pt x="134602" y="87231"/>
                  <a:pt x="131445" y="91440"/>
                </a:cubicBezTo>
                <a:cubicBezTo>
                  <a:pt x="128288" y="95649"/>
                  <a:pt x="122318" y="96501"/>
                  <a:pt x="118110" y="93345"/>
                </a:cubicBezTo>
                <a:lnTo>
                  <a:pt x="95250" y="76200"/>
                </a:lnTo>
                <a:cubicBezTo>
                  <a:pt x="95250" y="76200"/>
                  <a:pt x="95250" y="128447"/>
                  <a:pt x="95250" y="161925"/>
                </a:cubicBezTo>
                <a:cubicBezTo>
                  <a:pt x="95250" y="165705"/>
                  <a:pt x="95250" y="171450"/>
                  <a:pt x="100013" y="171450"/>
                </a:cubicBezTo>
                <a:cubicBezTo>
                  <a:pt x="100013" y="171450"/>
                  <a:pt x="102810" y="171557"/>
                  <a:pt x="104775" y="17122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Рисунок 15">
            <a:extLst>
              <a:ext uri="{FF2B5EF4-FFF2-40B4-BE49-F238E27FC236}">
                <a16:creationId xmlns:a16="http://schemas.microsoft.com/office/drawing/2014/main" id="{E9A6F200-9716-57E7-88BC-0C59D11254B9}"/>
              </a:ext>
            </a:extLst>
          </p:cNvPr>
          <p:cNvSpPr/>
          <p:nvPr/>
        </p:nvSpPr>
        <p:spPr>
          <a:xfrm rot="5400000">
            <a:off x="11107559" y="3115703"/>
            <a:ext cx="283088" cy="283116"/>
          </a:xfrm>
          <a:custGeom>
            <a:avLst/>
            <a:gdLst>
              <a:gd name="connsiteX0" fmla="*/ 104775 w 171450"/>
              <a:gd name="connsiteY0" fmla="*/ 171229 h 171467"/>
              <a:gd name="connsiteX1" fmla="*/ 171450 w 171450"/>
              <a:gd name="connsiteY1" fmla="*/ 85725 h 171467"/>
              <a:gd name="connsiteX2" fmla="*/ 85725 w 171450"/>
              <a:gd name="connsiteY2" fmla="*/ 0 h 171467"/>
              <a:gd name="connsiteX3" fmla="*/ 0 w 171450"/>
              <a:gd name="connsiteY3" fmla="*/ 85725 h 171467"/>
              <a:gd name="connsiteX4" fmla="*/ 66675 w 171450"/>
              <a:gd name="connsiteY4" fmla="*/ 171229 h 171467"/>
              <a:gd name="connsiteX5" fmla="*/ 71438 w 171450"/>
              <a:gd name="connsiteY5" fmla="*/ 171450 h 171467"/>
              <a:gd name="connsiteX6" fmla="*/ 76200 w 171450"/>
              <a:gd name="connsiteY6" fmla="*/ 161925 h 171467"/>
              <a:gd name="connsiteX7" fmla="*/ 76200 w 171450"/>
              <a:gd name="connsiteY7" fmla="*/ 76200 h 171467"/>
              <a:gd name="connsiteX8" fmla="*/ 53340 w 171450"/>
              <a:gd name="connsiteY8" fmla="*/ 93345 h 171467"/>
              <a:gd name="connsiteX9" fmla="*/ 40005 w 171450"/>
              <a:gd name="connsiteY9" fmla="*/ 91440 h 171467"/>
              <a:gd name="connsiteX10" fmla="*/ 41910 w 171450"/>
              <a:gd name="connsiteY10" fmla="*/ 78105 h 171467"/>
              <a:gd name="connsiteX11" fmla="*/ 80010 w 171450"/>
              <a:gd name="connsiteY11" fmla="*/ 49530 h 171467"/>
              <a:gd name="connsiteX12" fmla="*/ 91440 w 171450"/>
              <a:gd name="connsiteY12" fmla="*/ 49530 h 171467"/>
              <a:gd name="connsiteX13" fmla="*/ 129540 w 171450"/>
              <a:gd name="connsiteY13" fmla="*/ 78105 h 171467"/>
              <a:gd name="connsiteX14" fmla="*/ 131445 w 171450"/>
              <a:gd name="connsiteY14" fmla="*/ 91440 h 171467"/>
              <a:gd name="connsiteX15" fmla="*/ 118110 w 171450"/>
              <a:gd name="connsiteY15" fmla="*/ 93345 h 171467"/>
              <a:gd name="connsiteX16" fmla="*/ 95250 w 171450"/>
              <a:gd name="connsiteY16" fmla="*/ 76200 h 171467"/>
              <a:gd name="connsiteX17" fmla="*/ 95250 w 171450"/>
              <a:gd name="connsiteY17" fmla="*/ 161925 h 171467"/>
              <a:gd name="connsiteX18" fmla="*/ 100013 w 171450"/>
              <a:gd name="connsiteY18" fmla="*/ 171450 h 171467"/>
              <a:gd name="connsiteX19" fmla="*/ 104775 w 171450"/>
              <a:gd name="connsiteY19" fmla="*/ 171229 h 171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71450" h="171467">
                <a:moveTo>
                  <a:pt x="104775" y="171229"/>
                </a:moveTo>
                <a:cubicBezTo>
                  <a:pt x="146577" y="164243"/>
                  <a:pt x="171450" y="132230"/>
                  <a:pt x="171450" y="85725"/>
                </a:cubicBezTo>
                <a:cubicBezTo>
                  <a:pt x="171450" y="32536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2230"/>
                  <a:pt x="24872" y="164243"/>
                  <a:pt x="66675" y="171229"/>
                </a:cubicBezTo>
                <a:cubicBezTo>
                  <a:pt x="68640" y="171557"/>
                  <a:pt x="71438" y="171450"/>
                  <a:pt x="71438" y="171450"/>
                </a:cubicBezTo>
                <a:cubicBezTo>
                  <a:pt x="76200" y="171450"/>
                  <a:pt x="76200" y="165705"/>
                  <a:pt x="76200" y="161925"/>
                </a:cubicBezTo>
                <a:lnTo>
                  <a:pt x="76200" y="76200"/>
                </a:lnTo>
                <a:lnTo>
                  <a:pt x="53340" y="93345"/>
                </a:lnTo>
                <a:cubicBezTo>
                  <a:pt x="49132" y="96501"/>
                  <a:pt x="43161" y="95649"/>
                  <a:pt x="40005" y="91440"/>
                </a:cubicBezTo>
                <a:cubicBezTo>
                  <a:pt x="36849" y="87231"/>
                  <a:pt x="37702" y="81261"/>
                  <a:pt x="41910" y="78105"/>
                </a:cubicBezTo>
                <a:lnTo>
                  <a:pt x="80010" y="49530"/>
                </a:lnTo>
                <a:cubicBezTo>
                  <a:pt x="83397" y="46990"/>
                  <a:pt x="88053" y="46990"/>
                  <a:pt x="91440" y="49530"/>
                </a:cubicBezTo>
                <a:lnTo>
                  <a:pt x="129540" y="78105"/>
                </a:lnTo>
                <a:cubicBezTo>
                  <a:pt x="133748" y="81261"/>
                  <a:pt x="134602" y="87231"/>
                  <a:pt x="131445" y="91440"/>
                </a:cubicBezTo>
                <a:cubicBezTo>
                  <a:pt x="128288" y="95649"/>
                  <a:pt x="122318" y="96501"/>
                  <a:pt x="118110" y="93345"/>
                </a:cubicBezTo>
                <a:lnTo>
                  <a:pt x="95250" y="76200"/>
                </a:lnTo>
                <a:cubicBezTo>
                  <a:pt x="95250" y="76200"/>
                  <a:pt x="95250" y="128447"/>
                  <a:pt x="95250" y="161925"/>
                </a:cubicBezTo>
                <a:cubicBezTo>
                  <a:pt x="95250" y="165705"/>
                  <a:pt x="95250" y="171450"/>
                  <a:pt x="100013" y="171450"/>
                </a:cubicBezTo>
                <a:cubicBezTo>
                  <a:pt x="100013" y="171450"/>
                  <a:pt x="102810" y="171557"/>
                  <a:pt x="104775" y="17122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E11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A470B31A-EAC6-8632-E13C-EFEED4C4F05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6104" y="3268871"/>
            <a:ext cx="4417670" cy="4417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814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24BA4F73-9F35-5CFF-9E28-807E5340255F}"/>
              </a:ext>
            </a:extLst>
          </p:cNvPr>
          <p:cNvSpPr/>
          <p:nvPr/>
        </p:nvSpPr>
        <p:spPr>
          <a:xfrm>
            <a:off x="639764" y="1330082"/>
            <a:ext cx="10925180" cy="2524466"/>
          </a:xfrm>
          <a:prstGeom prst="roundRect">
            <a:avLst>
              <a:gd name="adj" fmla="val 8849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7BE06F6-59AB-8EA1-6BAD-386EEB590B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E8FECDDA-DD91-DAFE-051A-3CAE9243BA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Что такое </a:t>
            </a:r>
            <a:r>
              <a:rPr lang="en" dirty="0"/>
              <a:t>Airflow</a:t>
            </a:r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BE73304-7D61-4A47-23D2-194E36CA6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8864322" cy="144500"/>
          </a:xfrm>
        </p:spPr>
        <p:txBody>
          <a:bodyPr/>
          <a:lstStyle/>
          <a:p>
            <a:r>
              <a:rPr lang="ru-RU" dirty="0" err="1"/>
              <a:t>Харенслак</a:t>
            </a:r>
            <a:r>
              <a:rPr lang="ru-RU" dirty="0"/>
              <a:t> Б., де </a:t>
            </a:r>
            <a:r>
              <a:rPr lang="ru-RU" dirty="0" err="1"/>
              <a:t>Руйтер</a:t>
            </a:r>
            <a:r>
              <a:rPr lang="ru-RU" dirty="0"/>
              <a:t> Дж. </a:t>
            </a:r>
            <a:r>
              <a:rPr lang="en" dirty="0"/>
              <a:t>Apache Airflow </a:t>
            </a:r>
            <a:r>
              <a:rPr lang="ru-RU" dirty="0"/>
              <a:t>и конвейеры обработки данных / пер. с англ. Д. А. Беликова. –М.: ДМК Пресс, 2021. – 502 с.</a:t>
            </a:r>
          </a:p>
        </p:txBody>
      </p:sp>
      <p:sp>
        <p:nvSpPr>
          <p:cNvPr id="6" name="Заголовок 3">
            <a:extLst>
              <a:ext uri="{FF2B5EF4-FFF2-40B4-BE49-F238E27FC236}">
                <a16:creationId xmlns:a16="http://schemas.microsoft.com/office/drawing/2014/main" id="{B737DE59-A2CD-B4F5-DF67-5B1F13F342A0}"/>
              </a:ext>
            </a:extLst>
          </p:cNvPr>
          <p:cNvSpPr txBox="1">
            <a:spLocks/>
          </p:cNvSpPr>
          <p:nvPr/>
        </p:nvSpPr>
        <p:spPr>
          <a:xfrm>
            <a:off x="3479228" y="1821045"/>
            <a:ext cx="3299190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spc="-3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" sz="4800" b="1" dirty="0">
                <a:solidFill>
                  <a:schemeClr val="accent1"/>
                </a:solidFill>
              </a:rPr>
              <a:t>Airflow</a:t>
            </a:r>
            <a:r>
              <a:rPr lang="ru-RU" sz="4800" b="1" dirty="0">
                <a:solidFill>
                  <a:schemeClr val="accent1"/>
                </a:solidFill>
              </a:rPr>
              <a:t> –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4CEB32B-8DBA-9A1C-D06F-BE979A09C443}"/>
              </a:ext>
            </a:extLst>
          </p:cNvPr>
          <p:cNvSpPr txBox="1"/>
          <p:nvPr/>
        </p:nvSpPr>
        <p:spPr>
          <a:xfrm>
            <a:off x="3350250" y="2541780"/>
            <a:ext cx="719495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/>
              <a:t>фреймворк для построения конвейеров обработки данных</a:t>
            </a: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52788267-A0BE-E51A-2697-B3AF58EDAD9D}"/>
              </a:ext>
            </a:extLst>
          </p:cNvPr>
          <p:cNvSpPr/>
          <p:nvPr/>
        </p:nvSpPr>
        <p:spPr>
          <a:xfrm>
            <a:off x="834367" y="1532318"/>
            <a:ext cx="2133915" cy="2133915"/>
          </a:xfrm>
          <a:prstGeom prst="roundRect">
            <a:avLst>
              <a:gd name="adj" fmla="val 628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8CA4F50-73D4-C606-4303-C5058EDE79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304"/>
          <a:stretch/>
        </p:blipFill>
        <p:spPr>
          <a:xfrm>
            <a:off x="1198206" y="1925073"/>
            <a:ext cx="1357387" cy="1289686"/>
          </a:xfrm>
          <a:prstGeom prst="rect">
            <a:avLst/>
          </a:prstGeom>
        </p:spPr>
      </p:pic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88FA540E-85E3-AA78-30E6-18EE2C66A54B}"/>
              </a:ext>
            </a:extLst>
          </p:cNvPr>
          <p:cNvGrpSpPr/>
          <p:nvPr/>
        </p:nvGrpSpPr>
        <p:grpSpPr>
          <a:xfrm>
            <a:off x="697652" y="4293307"/>
            <a:ext cx="11001682" cy="523220"/>
            <a:chOff x="697652" y="4293307"/>
            <a:chExt cx="11001682" cy="52322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3EBD199-5070-A26B-F2E7-4F3D95589EED}"/>
                </a:ext>
              </a:extLst>
            </p:cNvPr>
            <p:cNvSpPr txBox="1"/>
            <p:nvPr/>
          </p:nvSpPr>
          <p:spPr>
            <a:xfrm>
              <a:off x="983049" y="4293307"/>
              <a:ext cx="10716285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400" dirty="0"/>
                <a:t>Ключевая особенность </a:t>
              </a:r>
              <a:r>
                <a:rPr lang="en" sz="1400" dirty="0"/>
                <a:t>Airflow </a:t>
              </a:r>
              <a:r>
                <a:rPr lang="ru-RU" sz="1400" dirty="0"/>
                <a:t>заключается в том, что он позволяет </a:t>
              </a:r>
              <a:r>
                <a:rPr lang="ru-RU" sz="1400" b="1" dirty="0"/>
                <a:t>легко создавать конвейеры обработки данных</a:t>
              </a:r>
              <a:r>
                <a:rPr lang="ru-RU" sz="1400" dirty="0"/>
                <a:t>, запускаемых по расписанию, с использованием гибкой платформы </a:t>
              </a:r>
              <a:r>
                <a:rPr lang="en" sz="1400" dirty="0"/>
                <a:t>Python</a:t>
              </a:r>
              <a:endParaRPr lang="ru-RU" sz="1400" dirty="0"/>
            </a:p>
          </p:txBody>
        </p:sp>
        <p:sp>
          <p:nvSpPr>
            <p:cNvPr id="15" name="Рисунок 15">
              <a:extLst>
                <a:ext uri="{FF2B5EF4-FFF2-40B4-BE49-F238E27FC236}">
                  <a16:creationId xmlns:a16="http://schemas.microsoft.com/office/drawing/2014/main" id="{4BB36132-C49F-CE9B-C501-619BB2C4FD10}"/>
                </a:ext>
              </a:extLst>
            </p:cNvPr>
            <p:cNvSpPr/>
            <p:nvPr/>
          </p:nvSpPr>
          <p:spPr>
            <a:xfrm rot="5400000">
              <a:off x="697660" y="4359565"/>
              <a:ext cx="167397" cy="167413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68328D71-A69D-A217-FAD1-A8DC0475F6C6}"/>
              </a:ext>
            </a:extLst>
          </p:cNvPr>
          <p:cNvGrpSpPr/>
          <p:nvPr/>
        </p:nvGrpSpPr>
        <p:grpSpPr>
          <a:xfrm>
            <a:off x="697652" y="5128859"/>
            <a:ext cx="11001682" cy="523220"/>
            <a:chOff x="697652" y="5128859"/>
            <a:chExt cx="11001682" cy="523220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CD2E4B8-C64B-570F-3356-97D15711B9AF}"/>
                </a:ext>
              </a:extLst>
            </p:cNvPr>
            <p:cNvSpPr txBox="1"/>
            <p:nvPr/>
          </p:nvSpPr>
          <p:spPr>
            <a:xfrm>
              <a:off x="983049" y="5128859"/>
              <a:ext cx="10716285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400" dirty="0"/>
                <a:t>А также предоставляет </a:t>
              </a:r>
              <a:r>
                <a:rPr lang="ru-RU" sz="1400" b="1" dirty="0"/>
                <a:t>множество строительных блоков</a:t>
              </a:r>
              <a:r>
                <a:rPr lang="ru-RU" sz="1400" dirty="0"/>
                <a:t>, которые позволяют объединить огромное количество различных технологий, встречающихся в современных технологических ландшафтах</a:t>
              </a:r>
            </a:p>
          </p:txBody>
        </p:sp>
        <p:sp>
          <p:nvSpPr>
            <p:cNvPr id="17" name="Рисунок 15">
              <a:extLst>
                <a:ext uri="{FF2B5EF4-FFF2-40B4-BE49-F238E27FC236}">
                  <a16:creationId xmlns:a16="http://schemas.microsoft.com/office/drawing/2014/main" id="{D1FB0623-B5CF-6009-70D1-BD077F5EA0D2}"/>
                </a:ext>
              </a:extLst>
            </p:cNvPr>
            <p:cNvSpPr/>
            <p:nvPr/>
          </p:nvSpPr>
          <p:spPr>
            <a:xfrm rot="5400000">
              <a:off x="697660" y="5195117"/>
              <a:ext cx="167397" cy="167413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049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Скругленный прямоугольник 53">
            <a:extLst>
              <a:ext uri="{FF2B5EF4-FFF2-40B4-BE49-F238E27FC236}">
                <a16:creationId xmlns:a16="http://schemas.microsoft.com/office/drawing/2014/main" id="{68576BAA-2C04-6664-4B6A-FA395DBF6CC8}"/>
              </a:ext>
            </a:extLst>
          </p:cNvPr>
          <p:cNvSpPr/>
          <p:nvPr/>
        </p:nvSpPr>
        <p:spPr>
          <a:xfrm>
            <a:off x="639764" y="3663454"/>
            <a:ext cx="6510336" cy="2342792"/>
          </a:xfrm>
          <a:prstGeom prst="roundRect">
            <a:avLst>
              <a:gd name="adj" fmla="val 10690"/>
            </a:avLst>
          </a:prstGeom>
          <a:solidFill>
            <a:srgbClr val="B7ED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9611BB0-D9F8-0B0E-389B-E14232BDD2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EB954DA8-C27A-E64A-AFDC-88227B8EE5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Что такое </a:t>
            </a:r>
            <a:r>
              <a:rPr lang="en" dirty="0"/>
              <a:t>DAG</a:t>
            </a:r>
            <a:endParaRPr lang="ru-RU" dirty="0"/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B07001F9-485F-3E14-45EC-EC71E9861436}"/>
              </a:ext>
            </a:extLst>
          </p:cNvPr>
          <p:cNvSpPr/>
          <p:nvPr/>
        </p:nvSpPr>
        <p:spPr>
          <a:xfrm>
            <a:off x="639764" y="1330082"/>
            <a:ext cx="10925180" cy="2098918"/>
          </a:xfrm>
          <a:prstGeom prst="roundRect">
            <a:avLst>
              <a:gd name="adj" fmla="val 10690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Заголовок 3">
            <a:extLst>
              <a:ext uri="{FF2B5EF4-FFF2-40B4-BE49-F238E27FC236}">
                <a16:creationId xmlns:a16="http://schemas.microsoft.com/office/drawing/2014/main" id="{8D95BC32-D3D1-F0B8-A107-2795A180E4DE}"/>
              </a:ext>
            </a:extLst>
          </p:cNvPr>
          <p:cNvSpPr txBox="1">
            <a:spLocks/>
          </p:cNvSpPr>
          <p:nvPr/>
        </p:nvSpPr>
        <p:spPr>
          <a:xfrm>
            <a:off x="1238303" y="1811283"/>
            <a:ext cx="9940559" cy="6844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spc="-3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ru-RU" b="1" dirty="0">
                <a:solidFill>
                  <a:schemeClr val="accent1"/>
                </a:solidFill>
              </a:rPr>
              <a:t>Ориентированный ациклический граф (</a:t>
            </a:r>
            <a:r>
              <a:rPr lang="en" b="1" dirty="0">
                <a:solidFill>
                  <a:schemeClr val="accent1"/>
                </a:solidFill>
              </a:rPr>
              <a:t>DAG)</a:t>
            </a:r>
            <a:r>
              <a:rPr lang="ru-RU" b="1" dirty="0">
                <a:solidFill>
                  <a:schemeClr val="accent1"/>
                </a:solidFill>
              </a:rPr>
              <a:t> –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DF868B-9E58-F601-8196-BF29F2C72D93}"/>
              </a:ext>
            </a:extLst>
          </p:cNvPr>
          <p:cNvSpPr txBox="1"/>
          <p:nvPr/>
        </p:nvSpPr>
        <p:spPr>
          <a:xfrm>
            <a:off x="1135084" y="2320370"/>
            <a:ext cx="88460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это основная концепция </a:t>
            </a:r>
            <a:r>
              <a:rPr lang="en" dirty="0"/>
              <a:t>Airflow, </a:t>
            </a:r>
            <a:r>
              <a:rPr lang="ru-RU" dirty="0"/>
              <a:t>объединяющая задачи вместе, организованные с зависимостями и связями, чтобы определить, как они должны выполняться</a:t>
            </a:r>
          </a:p>
        </p:txBody>
      </p: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D2BF36AB-0571-AD52-0064-E840CE9C7C95}"/>
              </a:ext>
            </a:extLst>
          </p:cNvPr>
          <p:cNvGrpSpPr/>
          <p:nvPr/>
        </p:nvGrpSpPr>
        <p:grpSpPr>
          <a:xfrm>
            <a:off x="814815" y="4071686"/>
            <a:ext cx="6160234" cy="1526327"/>
            <a:chOff x="697335" y="4001591"/>
            <a:chExt cx="6160234" cy="1526327"/>
          </a:xfrm>
        </p:grpSpPr>
        <p:grpSp>
          <p:nvGrpSpPr>
            <p:cNvPr id="16" name="Группа 15">
              <a:extLst>
                <a:ext uri="{FF2B5EF4-FFF2-40B4-BE49-F238E27FC236}">
                  <a16:creationId xmlns:a16="http://schemas.microsoft.com/office/drawing/2014/main" id="{64AB1129-C13B-1CC1-75B6-AF93435DC026}"/>
                </a:ext>
              </a:extLst>
            </p:cNvPr>
            <p:cNvGrpSpPr/>
            <p:nvPr/>
          </p:nvGrpSpPr>
          <p:grpSpPr>
            <a:xfrm>
              <a:off x="697335" y="4001591"/>
              <a:ext cx="1849464" cy="685585"/>
              <a:chOff x="702590" y="5042115"/>
              <a:chExt cx="1849464" cy="685585"/>
            </a:xfrm>
          </p:grpSpPr>
          <p:sp>
            <p:nvSpPr>
              <p:cNvPr id="10" name="Скругленный прямоугольник 9">
                <a:extLst>
                  <a:ext uri="{FF2B5EF4-FFF2-40B4-BE49-F238E27FC236}">
                    <a16:creationId xmlns:a16="http://schemas.microsoft.com/office/drawing/2014/main" id="{719373FC-2CEE-51F5-EA68-68123B3313CE}"/>
                  </a:ext>
                </a:extLst>
              </p:cNvPr>
              <p:cNvSpPr/>
              <p:nvPr/>
            </p:nvSpPr>
            <p:spPr>
              <a:xfrm>
                <a:off x="702590" y="5042115"/>
                <a:ext cx="1849464" cy="685585"/>
              </a:xfrm>
              <a:prstGeom prst="roundRect">
                <a:avLst>
                  <a:gd name="adj" fmla="val 8235"/>
                </a:avLst>
              </a:prstGeom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ru-RU" sz="1400" dirty="0" err="1"/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27D7D053-3C98-8654-40D0-BB8B19F3CB5B}"/>
                  </a:ext>
                </a:extLst>
              </p:cNvPr>
              <p:cNvSpPr txBox="1"/>
              <p:nvPr/>
            </p:nvSpPr>
            <p:spPr>
              <a:xfrm>
                <a:off x="786002" y="5056398"/>
                <a:ext cx="323682" cy="19825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spcAft>
                    <a:spcPts val="600"/>
                  </a:spcAft>
                </a:pPr>
                <a:r>
                  <a:rPr lang="en-US" sz="1100" b="1" dirty="0"/>
                  <a:t>a</a:t>
                </a:r>
                <a:endParaRPr lang="ru-RU" sz="1100" b="1" dirty="0" err="1"/>
              </a:p>
            </p:txBody>
          </p:sp>
          <p:grpSp>
            <p:nvGrpSpPr>
              <p:cNvPr id="14" name="Группа 13">
                <a:extLst>
                  <a:ext uri="{FF2B5EF4-FFF2-40B4-BE49-F238E27FC236}">
                    <a16:creationId xmlns:a16="http://schemas.microsoft.com/office/drawing/2014/main" id="{44D8A80F-0458-AE42-5A5E-F86183268079}"/>
                  </a:ext>
                </a:extLst>
              </p:cNvPr>
              <p:cNvGrpSpPr/>
              <p:nvPr/>
            </p:nvGrpSpPr>
            <p:grpSpPr>
              <a:xfrm>
                <a:off x="791050" y="5265868"/>
                <a:ext cx="1205232" cy="198255"/>
                <a:chOff x="816450" y="5265868"/>
                <a:chExt cx="1205232" cy="198255"/>
              </a:xfrm>
            </p:grpSpPr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F78B959B-660A-EF1D-810E-BB6C41E30361}"/>
                    </a:ext>
                  </a:extLst>
                </p:cNvPr>
                <p:cNvSpPr txBox="1"/>
                <p:nvPr/>
              </p:nvSpPr>
              <p:spPr>
                <a:xfrm>
                  <a:off x="986751" y="5265868"/>
                  <a:ext cx="1034931" cy="19825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algn="l">
                    <a:spcAft>
                      <a:spcPts val="600"/>
                    </a:spcAft>
                  </a:pPr>
                  <a:r>
                    <a:rPr lang="en-US" sz="1100" dirty="0">
                      <a:solidFill>
                        <a:schemeClr val="accent2">
                          <a:lumMod val="75000"/>
                        </a:schemeClr>
                      </a:solidFill>
                    </a:rPr>
                    <a:t>success</a:t>
                  </a:r>
                  <a:endParaRPr lang="ru-RU" sz="1100" dirty="0" err="1">
                    <a:solidFill>
                      <a:schemeClr val="accent2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13" name="Скругленный прямоугольник 12">
                  <a:extLst>
                    <a:ext uri="{FF2B5EF4-FFF2-40B4-BE49-F238E27FC236}">
                      <a16:creationId xmlns:a16="http://schemas.microsoft.com/office/drawing/2014/main" id="{F716E527-B6F7-2F6E-5913-085308B60D6B}"/>
                    </a:ext>
                  </a:extLst>
                </p:cNvPr>
                <p:cNvSpPr/>
                <p:nvPr/>
              </p:nvSpPr>
              <p:spPr>
                <a:xfrm>
                  <a:off x="816450" y="5318600"/>
                  <a:ext cx="107475" cy="107475"/>
                </a:xfrm>
                <a:prstGeom prst="roundRect">
                  <a:avLst/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ru-RU" sz="1400" dirty="0" err="1"/>
                </a:p>
              </p:txBody>
            </p:sp>
          </p:grp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7A97290-B7E9-066C-5142-8B7AC4E61D51}"/>
                  </a:ext>
                </a:extLst>
              </p:cNvPr>
              <p:cNvSpPr txBox="1"/>
              <p:nvPr/>
            </p:nvSpPr>
            <p:spPr>
              <a:xfrm>
                <a:off x="779652" y="5436135"/>
                <a:ext cx="1034931" cy="19825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spcAft>
                    <a:spcPts val="600"/>
                  </a:spcAft>
                </a:pPr>
                <a:r>
                  <a:rPr lang="en-US" sz="11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EmptyOperator</a:t>
                </a:r>
                <a:endParaRPr lang="ru-RU" sz="1100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grpSp>
          <p:nvGrpSpPr>
            <p:cNvPr id="17" name="Группа 16">
              <a:extLst>
                <a:ext uri="{FF2B5EF4-FFF2-40B4-BE49-F238E27FC236}">
                  <a16:creationId xmlns:a16="http://schemas.microsoft.com/office/drawing/2014/main" id="{5AF04BAB-AEB8-30DF-7F44-58EF23886CAA}"/>
                </a:ext>
              </a:extLst>
            </p:cNvPr>
            <p:cNvGrpSpPr/>
            <p:nvPr/>
          </p:nvGrpSpPr>
          <p:grpSpPr>
            <a:xfrm>
              <a:off x="2852720" y="4001591"/>
              <a:ext cx="1849464" cy="685585"/>
              <a:chOff x="702590" y="5042115"/>
              <a:chExt cx="1849464" cy="685585"/>
            </a:xfrm>
          </p:grpSpPr>
          <p:sp>
            <p:nvSpPr>
              <p:cNvPr id="18" name="Скругленный прямоугольник 17">
                <a:extLst>
                  <a:ext uri="{FF2B5EF4-FFF2-40B4-BE49-F238E27FC236}">
                    <a16:creationId xmlns:a16="http://schemas.microsoft.com/office/drawing/2014/main" id="{A9236DFF-2448-2E65-AB4B-377EBBE10ED1}"/>
                  </a:ext>
                </a:extLst>
              </p:cNvPr>
              <p:cNvSpPr/>
              <p:nvPr/>
            </p:nvSpPr>
            <p:spPr>
              <a:xfrm>
                <a:off x="702590" y="5042115"/>
                <a:ext cx="1849464" cy="685585"/>
              </a:xfrm>
              <a:prstGeom prst="roundRect">
                <a:avLst>
                  <a:gd name="adj" fmla="val 8235"/>
                </a:avLst>
              </a:prstGeom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ru-RU" sz="1400" dirty="0" err="1"/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A90A5E93-25FD-B9CD-CAB2-9D38E84AC5F3}"/>
                  </a:ext>
                </a:extLst>
              </p:cNvPr>
              <p:cNvSpPr txBox="1"/>
              <p:nvPr/>
            </p:nvSpPr>
            <p:spPr>
              <a:xfrm>
                <a:off x="786002" y="5056398"/>
                <a:ext cx="323682" cy="19825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spcAft>
                    <a:spcPts val="600"/>
                  </a:spcAft>
                </a:pPr>
                <a:r>
                  <a:rPr lang="en-US" sz="1100" b="1" dirty="0"/>
                  <a:t>c</a:t>
                </a:r>
                <a:endParaRPr lang="ru-RU" sz="1100" b="1" dirty="0" err="1"/>
              </a:p>
            </p:txBody>
          </p:sp>
          <p:grpSp>
            <p:nvGrpSpPr>
              <p:cNvPr id="20" name="Группа 19">
                <a:extLst>
                  <a:ext uri="{FF2B5EF4-FFF2-40B4-BE49-F238E27FC236}">
                    <a16:creationId xmlns:a16="http://schemas.microsoft.com/office/drawing/2014/main" id="{DBE325DC-2364-285C-3849-69FCED4E918B}"/>
                  </a:ext>
                </a:extLst>
              </p:cNvPr>
              <p:cNvGrpSpPr/>
              <p:nvPr/>
            </p:nvGrpSpPr>
            <p:grpSpPr>
              <a:xfrm>
                <a:off x="791050" y="5265868"/>
                <a:ext cx="1205232" cy="198255"/>
                <a:chOff x="816450" y="5265868"/>
                <a:chExt cx="1205232" cy="198255"/>
              </a:xfrm>
            </p:grpSpPr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403BDA3F-4126-C585-09A3-BE2E25E9B56D}"/>
                    </a:ext>
                  </a:extLst>
                </p:cNvPr>
                <p:cNvSpPr txBox="1"/>
                <p:nvPr/>
              </p:nvSpPr>
              <p:spPr>
                <a:xfrm>
                  <a:off x="986751" y="5265868"/>
                  <a:ext cx="1034931" cy="19825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algn="l">
                    <a:spcAft>
                      <a:spcPts val="600"/>
                    </a:spcAft>
                  </a:pPr>
                  <a:r>
                    <a:rPr lang="en-US" sz="1100" dirty="0">
                      <a:solidFill>
                        <a:schemeClr val="accent2">
                          <a:lumMod val="75000"/>
                        </a:schemeClr>
                      </a:solidFill>
                    </a:rPr>
                    <a:t>success</a:t>
                  </a:r>
                  <a:endParaRPr lang="ru-RU" sz="1100" dirty="0" err="1">
                    <a:solidFill>
                      <a:schemeClr val="accent2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23" name="Скругленный прямоугольник 22">
                  <a:extLst>
                    <a:ext uri="{FF2B5EF4-FFF2-40B4-BE49-F238E27FC236}">
                      <a16:creationId xmlns:a16="http://schemas.microsoft.com/office/drawing/2014/main" id="{D3EF20C4-5176-1FDD-7279-B18891CFAC34}"/>
                    </a:ext>
                  </a:extLst>
                </p:cNvPr>
                <p:cNvSpPr/>
                <p:nvPr/>
              </p:nvSpPr>
              <p:spPr>
                <a:xfrm>
                  <a:off x="816450" y="5318600"/>
                  <a:ext cx="107475" cy="107475"/>
                </a:xfrm>
                <a:prstGeom prst="roundRect">
                  <a:avLst/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ru-RU" sz="1400" dirty="0" err="1"/>
                </a:p>
              </p:txBody>
            </p:sp>
          </p:grp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1C5D78BA-89AF-AE80-865C-88553FC62FC7}"/>
                  </a:ext>
                </a:extLst>
              </p:cNvPr>
              <p:cNvSpPr txBox="1"/>
              <p:nvPr/>
            </p:nvSpPr>
            <p:spPr>
              <a:xfrm>
                <a:off x="779652" y="5436135"/>
                <a:ext cx="1034931" cy="19825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spcAft>
                    <a:spcPts val="600"/>
                  </a:spcAft>
                </a:pPr>
                <a:r>
                  <a:rPr lang="en-US" sz="11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EmptyOperator</a:t>
                </a:r>
                <a:endParaRPr lang="ru-RU" sz="1100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grpSp>
          <p:nvGrpSpPr>
            <p:cNvPr id="24" name="Группа 23">
              <a:extLst>
                <a:ext uri="{FF2B5EF4-FFF2-40B4-BE49-F238E27FC236}">
                  <a16:creationId xmlns:a16="http://schemas.microsoft.com/office/drawing/2014/main" id="{A1A7BEB9-CD3C-4D3C-28DD-116113B48579}"/>
                </a:ext>
              </a:extLst>
            </p:cNvPr>
            <p:cNvGrpSpPr/>
            <p:nvPr/>
          </p:nvGrpSpPr>
          <p:grpSpPr>
            <a:xfrm>
              <a:off x="5008105" y="4001591"/>
              <a:ext cx="1849464" cy="685585"/>
              <a:chOff x="702590" y="5042115"/>
              <a:chExt cx="1849464" cy="685585"/>
            </a:xfrm>
          </p:grpSpPr>
          <p:sp>
            <p:nvSpPr>
              <p:cNvPr id="25" name="Скругленный прямоугольник 24">
                <a:extLst>
                  <a:ext uri="{FF2B5EF4-FFF2-40B4-BE49-F238E27FC236}">
                    <a16:creationId xmlns:a16="http://schemas.microsoft.com/office/drawing/2014/main" id="{4F461721-0593-D62F-5B2F-C23823660F01}"/>
                  </a:ext>
                </a:extLst>
              </p:cNvPr>
              <p:cNvSpPr/>
              <p:nvPr/>
            </p:nvSpPr>
            <p:spPr>
              <a:xfrm>
                <a:off x="702590" y="5042115"/>
                <a:ext cx="1849464" cy="685585"/>
              </a:xfrm>
              <a:prstGeom prst="roundRect">
                <a:avLst>
                  <a:gd name="adj" fmla="val 8235"/>
                </a:avLst>
              </a:prstGeom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ru-RU" sz="1400" dirty="0" err="1"/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0962B425-5F77-2A74-DDA5-B7822E339F7E}"/>
                  </a:ext>
                </a:extLst>
              </p:cNvPr>
              <p:cNvSpPr txBox="1"/>
              <p:nvPr/>
            </p:nvSpPr>
            <p:spPr>
              <a:xfrm>
                <a:off x="786002" y="5056398"/>
                <a:ext cx="323682" cy="19825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spcAft>
                    <a:spcPts val="600"/>
                  </a:spcAft>
                </a:pPr>
                <a:r>
                  <a:rPr lang="en-US" sz="1100" b="1" dirty="0"/>
                  <a:t>d</a:t>
                </a:r>
                <a:endParaRPr lang="ru-RU" sz="1100" b="1" dirty="0" err="1"/>
              </a:p>
            </p:txBody>
          </p:sp>
          <p:grpSp>
            <p:nvGrpSpPr>
              <p:cNvPr id="27" name="Группа 26">
                <a:extLst>
                  <a:ext uri="{FF2B5EF4-FFF2-40B4-BE49-F238E27FC236}">
                    <a16:creationId xmlns:a16="http://schemas.microsoft.com/office/drawing/2014/main" id="{131F3BE3-A5DA-6A3E-AE88-163A89DC6005}"/>
                  </a:ext>
                </a:extLst>
              </p:cNvPr>
              <p:cNvGrpSpPr/>
              <p:nvPr/>
            </p:nvGrpSpPr>
            <p:grpSpPr>
              <a:xfrm>
                <a:off x="791050" y="5265868"/>
                <a:ext cx="1205232" cy="198255"/>
                <a:chOff x="816450" y="5265868"/>
                <a:chExt cx="1205232" cy="198255"/>
              </a:xfrm>
            </p:grpSpPr>
            <p:sp>
              <p:nvSpPr>
                <p:cNvPr id="29" name="TextBox 28">
                  <a:extLst>
                    <a:ext uri="{FF2B5EF4-FFF2-40B4-BE49-F238E27FC236}">
                      <a16:creationId xmlns:a16="http://schemas.microsoft.com/office/drawing/2014/main" id="{A30383BD-604A-E793-8F6E-7901D4A99439}"/>
                    </a:ext>
                  </a:extLst>
                </p:cNvPr>
                <p:cNvSpPr txBox="1"/>
                <p:nvPr/>
              </p:nvSpPr>
              <p:spPr>
                <a:xfrm>
                  <a:off x="986751" y="5265868"/>
                  <a:ext cx="1034931" cy="19825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algn="l">
                    <a:spcAft>
                      <a:spcPts val="600"/>
                    </a:spcAft>
                  </a:pPr>
                  <a:r>
                    <a:rPr lang="en-US" sz="1100" dirty="0">
                      <a:solidFill>
                        <a:schemeClr val="accent2">
                          <a:lumMod val="75000"/>
                        </a:schemeClr>
                      </a:solidFill>
                    </a:rPr>
                    <a:t>success</a:t>
                  </a:r>
                  <a:endParaRPr lang="ru-RU" sz="1100" dirty="0" err="1">
                    <a:solidFill>
                      <a:schemeClr val="accent2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30" name="Скругленный прямоугольник 29">
                  <a:extLst>
                    <a:ext uri="{FF2B5EF4-FFF2-40B4-BE49-F238E27FC236}">
                      <a16:creationId xmlns:a16="http://schemas.microsoft.com/office/drawing/2014/main" id="{30F33F1A-248B-AA93-8AED-1A30A6C5D660}"/>
                    </a:ext>
                  </a:extLst>
                </p:cNvPr>
                <p:cNvSpPr/>
                <p:nvPr/>
              </p:nvSpPr>
              <p:spPr>
                <a:xfrm>
                  <a:off x="816450" y="5318600"/>
                  <a:ext cx="107475" cy="107475"/>
                </a:xfrm>
                <a:prstGeom prst="roundRect">
                  <a:avLst/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ru-RU" sz="1400" dirty="0" err="1"/>
                </a:p>
              </p:txBody>
            </p:sp>
          </p:grp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0A1F5A77-E4F8-7AE8-EF95-5800DF2CF4F5}"/>
                  </a:ext>
                </a:extLst>
              </p:cNvPr>
              <p:cNvSpPr txBox="1"/>
              <p:nvPr/>
            </p:nvSpPr>
            <p:spPr>
              <a:xfrm>
                <a:off x="779652" y="5436135"/>
                <a:ext cx="1034931" cy="19825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spcAft>
                    <a:spcPts val="600"/>
                  </a:spcAft>
                </a:pPr>
                <a:r>
                  <a:rPr lang="en-US" sz="11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EmptyOperator</a:t>
                </a:r>
                <a:endParaRPr lang="ru-RU" sz="1100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grpSp>
          <p:nvGrpSpPr>
            <p:cNvPr id="31" name="Группа 30">
              <a:extLst>
                <a:ext uri="{FF2B5EF4-FFF2-40B4-BE49-F238E27FC236}">
                  <a16:creationId xmlns:a16="http://schemas.microsoft.com/office/drawing/2014/main" id="{01A2985F-71A9-4B40-3823-6C1E9507311C}"/>
                </a:ext>
              </a:extLst>
            </p:cNvPr>
            <p:cNvGrpSpPr/>
            <p:nvPr/>
          </p:nvGrpSpPr>
          <p:grpSpPr>
            <a:xfrm>
              <a:off x="2852720" y="4842333"/>
              <a:ext cx="1849464" cy="685585"/>
              <a:chOff x="702590" y="5042115"/>
              <a:chExt cx="1849464" cy="685585"/>
            </a:xfrm>
          </p:grpSpPr>
          <p:sp>
            <p:nvSpPr>
              <p:cNvPr id="32" name="Скругленный прямоугольник 31">
                <a:extLst>
                  <a:ext uri="{FF2B5EF4-FFF2-40B4-BE49-F238E27FC236}">
                    <a16:creationId xmlns:a16="http://schemas.microsoft.com/office/drawing/2014/main" id="{CF3B8103-9FD1-6D12-A7D5-E1CD3B5DCFE2}"/>
                  </a:ext>
                </a:extLst>
              </p:cNvPr>
              <p:cNvSpPr/>
              <p:nvPr/>
            </p:nvSpPr>
            <p:spPr>
              <a:xfrm>
                <a:off x="702590" y="5042115"/>
                <a:ext cx="1849464" cy="685585"/>
              </a:xfrm>
              <a:prstGeom prst="roundRect">
                <a:avLst>
                  <a:gd name="adj" fmla="val 8235"/>
                </a:avLst>
              </a:prstGeom>
              <a:solidFill>
                <a:schemeClr val="bg1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ru-RU" sz="1400" dirty="0" err="1"/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2F03BB74-24FC-C5B2-0EF6-198C2494A593}"/>
                  </a:ext>
                </a:extLst>
              </p:cNvPr>
              <p:cNvSpPr txBox="1"/>
              <p:nvPr/>
            </p:nvSpPr>
            <p:spPr>
              <a:xfrm>
                <a:off x="786002" y="5056398"/>
                <a:ext cx="323682" cy="19825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spcAft>
                    <a:spcPts val="600"/>
                  </a:spcAft>
                </a:pPr>
                <a:r>
                  <a:rPr lang="en-US" sz="1100" b="1" dirty="0"/>
                  <a:t>b</a:t>
                </a:r>
                <a:endParaRPr lang="ru-RU" sz="1100" b="1" dirty="0" err="1"/>
              </a:p>
            </p:txBody>
          </p:sp>
          <p:grpSp>
            <p:nvGrpSpPr>
              <p:cNvPr id="34" name="Группа 33">
                <a:extLst>
                  <a:ext uri="{FF2B5EF4-FFF2-40B4-BE49-F238E27FC236}">
                    <a16:creationId xmlns:a16="http://schemas.microsoft.com/office/drawing/2014/main" id="{D03FD7C0-3C66-C43F-B8D9-BE5BA1B9693E}"/>
                  </a:ext>
                </a:extLst>
              </p:cNvPr>
              <p:cNvGrpSpPr/>
              <p:nvPr/>
            </p:nvGrpSpPr>
            <p:grpSpPr>
              <a:xfrm>
                <a:off x="791050" y="5265868"/>
                <a:ext cx="1205232" cy="198255"/>
                <a:chOff x="816450" y="5265868"/>
                <a:chExt cx="1205232" cy="198255"/>
              </a:xfrm>
            </p:grpSpPr>
            <p:sp>
              <p:nvSpPr>
                <p:cNvPr id="36" name="TextBox 35">
                  <a:extLst>
                    <a:ext uri="{FF2B5EF4-FFF2-40B4-BE49-F238E27FC236}">
                      <a16:creationId xmlns:a16="http://schemas.microsoft.com/office/drawing/2014/main" id="{CE3967A0-B189-F60E-D39A-CC923EDBB258}"/>
                    </a:ext>
                  </a:extLst>
                </p:cNvPr>
                <p:cNvSpPr txBox="1"/>
                <p:nvPr/>
              </p:nvSpPr>
              <p:spPr>
                <a:xfrm>
                  <a:off x="986751" y="5265868"/>
                  <a:ext cx="1034931" cy="19825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algn="l">
                    <a:spcAft>
                      <a:spcPts val="600"/>
                    </a:spcAft>
                  </a:pPr>
                  <a:r>
                    <a:rPr lang="en-US" sz="1100" dirty="0">
                      <a:solidFill>
                        <a:schemeClr val="accent2">
                          <a:lumMod val="75000"/>
                        </a:schemeClr>
                      </a:solidFill>
                    </a:rPr>
                    <a:t>success</a:t>
                  </a:r>
                  <a:endParaRPr lang="ru-RU" sz="1100" dirty="0" err="1">
                    <a:solidFill>
                      <a:schemeClr val="accent2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37" name="Скругленный прямоугольник 36">
                  <a:extLst>
                    <a:ext uri="{FF2B5EF4-FFF2-40B4-BE49-F238E27FC236}">
                      <a16:creationId xmlns:a16="http://schemas.microsoft.com/office/drawing/2014/main" id="{3C16E0A3-377B-2B88-92B7-C2944CD12E2E}"/>
                    </a:ext>
                  </a:extLst>
                </p:cNvPr>
                <p:cNvSpPr/>
                <p:nvPr/>
              </p:nvSpPr>
              <p:spPr>
                <a:xfrm>
                  <a:off x="816450" y="5318600"/>
                  <a:ext cx="107475" cy="107475"/>
                </a:xfrm>
                <a:prstGeom prst="roundRect">
                  <a:avLst/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ru-RU" sz="1400" dirty="0" err="1"/>
                </a:p>
              </p:txBody>
            </p:sp>
          </p:grp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956846BC-2F47-139D-3738-7B11E35A474C}"/>
                  </a:ext>
                </a:extLst>
              </p:cNvPr>
              <p:cNvSpPr txBox="1"/>
              <p:nvPr/>
            </p:nvSpPr>
            <p:spPr>
              <a:xfrm>
                <a:off x="779652" y="5436135"/>
                <a:ext cx="1034931" cy="19825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l">
                  <a:spcAft>
                    <a:spcPts val="600"/>
                  </a:spcAft>
                </a:pPr>
                <a:r>
                  <a:rPr lang="en-US" sz="11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EmptyOperator</a:t>
                </a:r>
                <a:endParaRPr lang="ru-RU" sz="1100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cxnSp>
          <p:nvCxnSpPr>
            <p:cNvPr id="39" name="Прямая соединительная линия 38">
              <a:extLst>
                <a:ext uri="{FF2B5EF4-FFF2-40B4-BE49-F238E27FC236}">
                  <a16:creationId xmlns:a16="http://schemas.microsoft.com/office/drawing/2014/main" id="{44EC0238-5DD4-4576-A88A-BD7BC4C8544A}"/>
                </a:ext>
              </a:extLst>
            </p:cNvPr>
            <p:cNvCxnSpPr>
              <a:cxnSpLocks/>
            </p:cNvCxnSpPr>
            <p:nvPr/>
          </p:nvCxnSpPr>
          <p:spPr>
            <a:xfrm>
              <a:off x="2546799" y="4225344"/>
              <a:ext cx="305921" cy="0"/>
            </a:xfrm>
            <a:prstGeom prst="line">
              <a:avLst/>
            </a:prstGeom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>
              <a:extLst>
                <a:ext uri="{FF2B5EF4-FFF2-40B4-BE49-F238E27FC236}">
                  <a16:creationId xmlns:a16="http://schemas.microsoft.com/office/drawing/2014/main" id="{3AAF1C14-4821-F42B-4D88-FC5D9D424538}"/>
                </a:ext>
              </a:extLst>
            </p:cNvPr>
            <p:cNvCxnSpPr>
              <a:cxnSpLocks/>
            </p:cNvCxnSpPr>
            <p:nvPr/>
          </p:nvCxnSpPr>
          <p:spPr>
            <a:xfrm>
              <a:off x="4702184" y="4225344"/>
              <a:ext cx="305921" cy="0"/>
            </a:xfrm>
            <a:prstGeom prst="line">
              <a:avLst/>
            </a:prstGeom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8" name="Группа 47">
              <a:extLst>
                <a:ext uri="{FF2B5EF4-FFF2-40B4-BE49-F238E27FC236}">
                  <a16:creationId xmlns:a16="http://schemas.microsoft.com/office/drawing/2014/main" id="{4C5DB0DC-BEE0-E522-F2AB-94215701F663}"/>
                </a:ext>
              </a:extLst>
            </p:cNvPr>
            <p:cNvGrpSpPr/>
            <p:nvPr/>
          </p:nvGrpSpPr>
          <p:grpSpPr>
            <a:xfrm>
              <a:off x="2553400" y="4434354"/>
              <a:ext cx="299320" cy="757373"/>
              <a:chOff x="2553400" y="4434354"/>
              <a:chExt cx="299320" cy="757373"/>
            </a:xfrm>
          </p:grpSpPr>
          <p:cxnSp>
            <p:nvCxnSpPr>
              <p:cNvPr id="41" name="Прямая соединительная линия 40">
                <a:extLst>
                  <a:ext uri="{FF2B5EF4-FFF2-40B4-BE49-F238E27FC236}">
                    <a16:creationId xmlns:a16="http://schemas.microsoft.com/office/drawing/2014/main" id="{94D86CC8-D55E-6B82-2A00-7EF8236322F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3400" y="4434354"/>
                <a:ext cx="152961" cy="0"/>
              </a:xfrm>
              <a:prstGeom prst="line">
                <a:avLst/>
              </a:prstGeom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Прямая соединительная линия 42">
                <a:extLst>
                  <a:ext uri="{FF2B5EF4-FFF2-40B4-BE49-F238E27FC236}">
                    <a16:creationId xmlns:a16="http://schemas.microsoft.com/office/drawing/2014/main" id="{CAEC23D7-89FA-DB13-000B-1B019CBAC0A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94869" y="5185125"/>
                <a:ext cx="157851" cy="0"/>
              </a:xfrm>
              <a:prstGeom prst="line">
                <a:avLst/>
              </a:prstGeom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Прямая соединительная линия 43">
                <a:extLst>
                  <a:ext uri="{FF2B5EF4-FFF2-40B4-BE49-F238E27FC236}">
                    <a16:creationId xmlns:a16="http://schemas.microsoft.com/office/drawing/2014/main" id="{FBE5B5BE-4564-572B-AF7E-B4A9107A5B1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98170" y="4435091"/>
                <a:ext cx="0" cy="756636"/>
              </a:xfrm>
              <a:prstGeom prst="line">
                <a:avLst/>
              </a:prstGeom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Группа 48">
              <a:extLst>
                <a:ext uri="{FF2B5EF4-FFF2-40B4-BE49-F238E27FC236}">
                  <a16:creationId xmlns:a16="http://schemas.microsoft.com/office/drawing/2014/main" id="{3843523E-A732-EF12-A29A-9908F03E36CD}"/>
                </a:ext>
              </a:extLst>
            </p:cNvPr>
            <p:cNvGrpSpPr/>
            <p:nvPr/>
          </p:nvGrpSpPr>
          <p:grpSpPr>
            <a:xfrm flipH="1">
              <a:off x="4705484" y="4434722"/>
              <a:ext cx="299320" cy="757373"/>
              <a:chOff x="2553400" y="4434354"/>
              <a:chExt cx="299320" cy="757373"/>
            </a:xfrm>
          </p:grpSpPr>
          <p:cxnSp>
            <p:nvCxnSpPr>
              <p:cNvPr id="50" name="Прямая соединительная линия 49">
                <a:extLst>
                  <a:ext uri="{FF2B5EF4-FFF2-40B4-BE49-F238E27FC236}">
                    <a16:creationId xmlns:a16="http://schemas.microsoft.com/office/drawing/2014/main" id="{661075EC-B4B3-3842-2822-EB1D9F4C66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53400" y="4434354"/>
                <a:ext cx="152961" cy="0"/>
              </a:xfrm>
              <a:prstGeom prst="line">
                <a:avLst/>
              </a:prstGeom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Прямая соединительная линия 50">
                <a:extLst>
                  <a:ext uri="{FF2B5EF4-FFF2-40B4-BE49-F238E27FC236}">
                    <a16:creationId xmlns:a16="http://schemas.microsoft.com/office/drawing/2014/main" id="{DA7DAEA4-BF87-B6A4-73E4-4B1CEAFF07C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94869" y="5185125"/>
                <a:ext cx="157851" cy="0"/>
              </a:xfrm>
              <a:prstGeom prst="line">
                <a:avLst/>
              </a:prstGeom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Прямая соединительная линия 51">
                <a:extLst>
                  <a:ext uri="{FF2B5EF4-FFF2-40B4-BE49-F238E27FC236}">
                    <a16:creationId xmlns:a16="http://schemas.microsoft.com/office/drawing/2014/main" id="{8C71EDA0-939B-14B9-6A5F-D98FBD5A500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98170" y="4435091"/>
                <a:ext cx="0" cy="756636"/>
              </a:xfrm>
              <a:prstGeom prst="line">
                <a:avLst/>
              </a:prstGeom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85521A42-9D40-947E-F60D-6F88B4B5C7A7}"/>
              </a:ext>
            </a:extLst>
          </p:cNvPr>
          <p:cNvSpPr txBox="1"/>
          <p:nvPr/>
        </p:nvSpPr>
        <p:spPr>
          <a:xfrm>
            <a:off x="7545070" y="3697056"/>
            <a:ext cx="4239793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/>
              <a:t>DAG сам по себе не заботится о том, что происходит внутри задач; он лишь занимается тем, </a:t>
            </a:r>
            <a:r>
              <a:rPr lang="ru-RU" sz="1400" b="1" dirty="0"/>
              <a:t>как их выполнять</a:t>
            </a:r>
            <a:r>
              <a:rPr lang="en-US" sz="1400" b="1" dirty="0"/>
              <a:t> </a:t>
            </a:r>
            <a:r>
              <a:rPr lang="en-US" sz="1400" dirty="0"/>
              <a:t>– </a:t>
            </a:r>
            <a:r>
              <a:rPr lang="ru-RU" sz="1400" dirty="0"/>
              <a:t>в каком порядке          их запускать, сколько раз повторять попытки,       есть ли у них ограничения по времени                   и так далее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CE220D0-87D2-F534-EB16-9F03661BBE48}"/>
              </a:ext>
            </a:extLst>
          </p:cNvPr>
          <p:cNvSpPr txBox="1"/>
          <p:nvPr/>
        </p:nvSpPr>
        <p:spPr>
          <a:xfrm>
            <a:off x="7850855" y="5492527"/>
            <a:ext cx="386299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 err="1">
                <a:hlinkClick r:id="rId2"/>
              </a:rPr>
              <a:t>https</a:t>
            </a:r>
            <a:r>
              <a:rPr lang="ru-RU" sz="1200" dirty="0">
                <a:hlinkClick r:id="rId2"/>
              </a:rPr>
              <a:t>://</a:t>
            </a:r>
            <a:r>
              <a:rPr lang="ru-RU" sz="1200" dirty="0" err="1">
                <a:hlinkClick r:id="rId2"/>
              </a:rPr>
              <a:t>airflow.apache.org</a:t>
            </a:r>
            <a:r>
              <a:rPr lang="ru-RU" sz="1200" dirty="0">
                <a:hlinkClick r:id="rId2"/>
              </a:rPr>
              <a:t>/</a:t>
            </a:r>
            <a:r>
              <a:rPr lang="ru-RU" sz="1200" dirty="0" err="1">
                <a:hlinkClick r:id="rId2"/>
              </a:rPr>
              <a:t>docs</a:t>
            </a:r>
            <a:r>
              <a:rPr lang="ru-RU" sz="1200" dirty="0">
                <a:hlinkClick r:id="rId2"/>
              </a:rPr>
              <a:t>/</a:t>
            </a:r>
            <a:r>
              <a:rPr lang="ru-RU" sz="1200" dirty="0" err="1">
                <a:hlinkClick r:id="rId2"/>
              </a:rPr>
              <a:t>apache-airflow</a:t>
            </a:r>
            <a:r>
              <a:rPr lang="ru-RU" sz="1200" dirty="0">
                <a:hlinkClick r:id="rId2"/>
              </a:rPr>
              <a:t>/</a:t>
            </a:r>
            <a:r>
              <a:rPr lang="ru-RU" sz="1200" dirty="0" err="1">
                <a:hlinkClick r:id="rId2"/>
              </a:rPr>
              <a:t>stable</a:t>
            </a:r>
            <a:r>
              <a:rPr lang="ru-RU" sz="1200" dirty="0">
                <a:hlinkClick r:id="rId2"/>
              </a:rPr>
              <a:t>/</a:t>
            </a:r>
            <a:r>
              <a:rPr lang="ru-RU" sz="1200" dirty="0" err="1">
                <a:hlinkClick r:id="rId2"/>
              </a:rPr>
              <a:t>core-concepts</a:t>
            </a:r>
            <a:r>
              <a:rPr lang="ru-RU" sz="1200" dirty="0">
                <a:hlinkClick r:id="rId2"/>
              </a:rPr>
              <a:t>/</a:t>
            </a:r>
            <a:r>
              <a:rPr lang="ru-RU" sz="1200" dirty="0" err="1">
                <a:hlinkClick r:id="rId2"/>
              </a:rPr>
              <a:t>dags.html</a:t>
            </a:r>
            <a:endParaRPr lang="ru-RU" sz="1200" dirty="0"/>
          </a:p>
        </p:txBody>
      </p:sp>
      <p:sp>
        <p:nvSpPr>
          <p:cNvPr id="59" name="Рисунок 508">
            <a:extLst>
              <a:ext uri="{FF2B5EF4-FFF2-40B4-BE49-F238E27FC236}">
                <a16:creationId xmlns:a16="http://schemas.microsoft.com/office/drawing/2014/main" id="{40252756-88B0-1355-06DB-A31E2ADBC53D}"/>
              </a:ext>
            </a:extLst>
          </p:cNvPr>
          <p:cNvSpPr/>
          <p:nvPr/>
        </p:nvSpPr>
        <p:spPr>
          <a:xfrm>
            <a:off x="7618319" y="5533111"/>
            <a:ext cx="221586" cy="221586"/>
          </a:xfrm>
          <a:custGeom>
            <a:avLst/>
            <a:gdLst>
              <a:gd name="connsiteX0" fmla="*/ 85725 w 171450"/>
              <a:gd name="connsiteY0" fmla="*/ 171450 h 171450"/>
              <a:gd name="connsiteX1" fmla="*/ 171450 w 171450"/>
              <a:gd name="connsiteY1" fmla="*/ 85725 h 171450"/>
              <a:gd name="connsiteX2" fmla="*/ 85725 w 171450"/>
              <a:gd name="connsiteY2" fmla="*/ 0 h 171450"/>
              <a:gd name="connsiteX3" fmla="*/ 0 w 171450"/>
              <a:gd name="connsiteY3" fmla="*/ 85725 h 171450"/>
              <a:gd name="connsiteX4" fmla="*/ 85725 w 171450"/>
              <a:gd name="connsiteY4" fmla="*/ 171450 h 171450"/>
              <a:gd name="connsiteX5" fmla="*/ 82935 w 171450"/>
              <a:gd name="connsiteY5" fmla="*/ 54360 h 171450"/>
              <a:gd name="connsiteX6" fmla="*/ 69465 w 171450"/>
              <a:gd name="connsiteY6" fmla="*/ 54360 h 171450"/>
              <a:gd name="connsiteX7" fmla="*/ 69465 w 171450"/>
              <a:gd name="connsiteY7" fmla="*/ 40889 h 171450"/>
              <a:gd name="connsiteX8" fmla="*/ 130722 w 171450"/>
              <a:gd name="connsiteY8" fmla="*/ 41056 h 171450"/>
              <a:gd name="connsiteX9" fmla="*/ 130560 w 171450"/>
              <a:gd name="connsiteY9" fmla="*/ 101985 h 171450"/>
              <a:gd name="connsiteX10" fmla="*/ 117090 w 171450"/>
              <a:gd name="connsiteY10" fmla="*/ 101985 h 171450"/>
              <a:gd name="connsiteX11" fmla="*/ 117090 w 171450"/>
              <a:gd name="connsiteY11" fmla="*/ 88514 h 171450"/>
              <a:gd name="connsiteX12" fmla="*/ 116927 w 171450"/>
              <a:gd name="connsiteY12" fmla="*/ 54193 h 171450"/>
              <a:gd name="connsiteX13" fmla="*/ 82935 w 171450"/>
              <a:gd name="connsiteY13" fmla="*/ 54360 h 171450"/>
              <a:gd name="connsiteX14" fmla="*/ 54500 w 171450"/>
              <a:gd name="connsiteY14" fmla="*/ 82700 h 171450"/>
              <a:gd name="connsiteX15" fmla="*/ 54662 w 171450"/>
              <a:gd name="connsiteY15" fmla="*/ 117020 h 171450"/>
              <a:gd name="connsiteX16" fmla="*/ 88655 w 171450"/>
              <a:gd name="connsiteY16" fmla="*/ 116854 h 171450"/>
              <a:gd name="connsiteX17" fmla="*/ 102125 w 171450"/>
              <a:gd name="connsiteY17" fmla="*/ 116854 h 171450"/>
              <a:gd name="connsiteX18" fmla="*/ 102125 w 171450"/>
              <a:gd name="connsiteY18" fmla="*/ 130325 h 171450"/>
              <a:gd name="connsiteX19" fmla="*/ 40867 w 171450"/>
              <a:gd name="connsiteY19" fmla="*/ 130158 h 171450"/>
              <a:gd name="connsiteX20" fmla="*/ 41030 w 171450"/>
              <a:gd name="connsiteY20" fmla="*/ 69229 h 171450"/>
              <a:gd name="connsiteX21" fmla="*/ 54500 w 171450"/>
              <a:gd name="connsiteY21" fmla="*/ 69229 h 171450"/>
              <a:gd name="connsiteX22" fmla="*/ 54500 w 171450"/>
              <a:gd name="connsiteY22" fmla="*/ 82700 h 171450"/>
              <a:gd name="connsiteX23" fmla="*/ 101985 w 171450"/>
              <a:gd name="connsiteY23" fmla="*/ 82935 h 171450"/>
              <a:gd name="connsiteX24" fmla="*/ 82935 w 171450"/>
              <a:gd name="connsiteY24" fmla="*/ 101985 h 171450"/>
              <a:gd name="connsiteX25" fmla="*/ 69465 w 171450"/>
              <a:gd name="connsiteY25" fmla="*/ 101985 h 171450"/>
              <a:gd name="connsiteX26" fmla="*/ 69465 w 171450"/>
              <a:gd name="connsiteY26" fmla="*/ 88514 h 171450"/>
              <a:gd name="connsiteX27" fmla="*/ 88515 w 171450"/>
              <a:gd name="connsiteY27" fmla="*/ 69464 h 171450"/>
              <a:gd name="connsiteX28" fmla="*/ 101985 w 171450"/>
              <a:gd name="connsiteY28" fmla="*/ 69464 h 171450"/>
              <a:gd name="connsiteX29" fmla="*/ 101985 w 171450"/>
              <a:gd name="connsiteY29" fmla="*/ 82935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71450" h="171450">
                <a:moveTo>
                  <a:pt x="85725" y="171450"/>
                </a:moveTo>
                <a:cubicBezTo>
                  <a:pt x="138915" y="171450"/>
                  <a:pt x="171450" y="138915"/>
                  <a:pt x="171450" y="85725"/>
                </a:cubicBezTo>
                <a:cubicBezTo>
                  <a:pt x="171450" y="32535"/>
                  <a:pt x="138915" y="0"/>
                  <a:pt x="85725" y="0"/>
                </a:cubicBezTo>
                <a:cubicBezTo>
                  <a:pt x="32535" y="0"/>
                  <a:pt x="0" y="32535"/>
                  <a:pt x="0" y="85725"/>
                </a:cubicBezTo>
                <a:cubicBezTo>
                  <a:pt x="0" y="138915"/>
                  <a:pt x="32535" y="171450"/>
                  <a:pt x="85725" y="171450"/>
                </a:cubicBezTo>
                <a:close/>
                <a:moveTo>
                  <a:pt x="82935" y="54360"/>
                </a:moveTo>
                <a:cubicBezTo>
                  <a:pt x="79216" y="58079"/>
                  <a:pt x="73184" y="58079"/>
                  <a:pt x="69465" y="54360"/>
                </a:cubicBezTo>
                <a:cubicBezTo>
                  <a:pt x="65745" y="50640"/>
                  <a:pt x="65745" y="44609"/>
                  <a:pt x="69465" y="40889"/>
                </a:cubicBezTo>
                <a:cubicBezTo>
                  <a:pt x="85916" y="24437"/>
                  <a:pt x="114308" y="23820"/>
                  <a:pt x="130722" y="41056"/>
                </a:cubicBezTo>
                <a:cubicBezTo>
                  <a:pt x="146518" y="57642"/>
                  <a:pt x="147755" y="84791"/>
                  <a:pt x="130560" y="101985"/>
                </a:cubicBezTo>
                <a:cubicBezTo>
                  <a:pt x="126841" y="105705"/>
                  <a:pt x="120809" y="105705"/>
                  <a:pt x="117090" y="101985"/>
                </a:cubicBezTo>
                <a:cubicBezTo>
                  <a:pt x="113369" y="98265"/>
                  <a:pt x="113369" y="92234"/>
                  <a:pt x="117090" y="88514"/>
                </a:cubicBezTo>
                <a:cubicBezTo>
                  <a:pt x="126403" y="79200"/>
                  <a:pt x="126161" y="63889"/>
                  <a:pt x="116927" y="54193"/>
                </a:cubicBezTo>
                <a:cubicBezTo>
                  <a:pt x="108295" y="45129"/>
                  <a:pt x="92236" y="45058"/>
                  <a:pt x="82935" y="54360"/>
                </a:cubicBezTo>
                <a:close/>
                <a:moveTo>
                  <a:pt x="54500" y="82700"/>
                </a:moveTo>
                <a:cubicBezTo>
                  <a:pt x="45186" y="92013"/>
                  <a:pt x="45429" y="107325"/>
                  <a:pt x="54662" y="117020"/>
                </a:cubicBezTo>
                <a:cubicBezTo>
                  <a:pt x="63295" y="126084"/>
                  <a:pt x="79353" y="126156"/>
                  <a:pt x="88655" y="116854"/>
                </a:cubicBezTo>
                <a:cubicBezTo>
                  <a:pt x="92374" y="113134"/>
                  <a:pt x="98406" y="113134"/>
                  <a:pt x="102125" y="116854"/>
                </a:cubicBezTo>
                <a:cubicBezTo>
                  <a:pt x="105845" y="120574"/>
                  <a:pt x="105845" y="126604"/>
                  <a:pt x="102125" y="130325"/>
                </a:cubicBezTo>
                <a:cubicBezTo>
                  <a:pt x="85673" y="146776"/>
                  <a:pt x="57282" y="147394"/>
                  <a:pt x="40867" y="130158"/>
                </a:cubicBezTo>
                <a:cubicBezTo>
                  <a:pt x="25071" y="113571"/>
                  <a:pt x="23835" y="86423"/>
                  <a:pt x="41030" y="69229"/>
                </a:cubicBezTo>
                <a:cubicBezTo>
                  <a:pt x="44750" y="65509"/>
                  <a:pt x="50780" y="65509"/>
                  <a:pt x="54500" y="69229"/>
                </a:cubicBezTo>
                <a:cubicBezTo>
                  <a:pt x="58220" y="72949"/>
                  <a:pt x="58220" y="78979"/>
                  <a:pt x="54500" y="82700"/>
                </a:cubicBezTo>
                <a:close/>
                <a:moveTo>
                  <a:pt x="101985" y="82935"/>
                </a:moveTo>
                <a:lnTo>
                  <a:pt x="82935" y="101985"/>
                </a:lnTo>
                <a:cubicBezTo>
                  <a:pt x="79216" y="105705"/>
                  <a:pt x="73184" y="105705"/>
                  <a:pt x="69465" y="101985"/>
                </a:cubicBezTo>
                <a:cubicBezTo>
                  <a:pt x="65745" y="98265"/>
                  <a:pt x="65745" y="92234"/>
                  <a:pt x="69465" y="88514"/>
                </a:cubicBezTo>
                <a:lnTo>
                  <a:pt x="88515" y="69464"/>
                </a:lnTo>
                <a:cubicBezTo>
                  <a:pt x="92234" y="65745"/>
                  <a:pt x="98266" y="65745"/>
                  <a:pt x="101985" y="69464"/>
                </a:cubicBezTo>
                <a:cubicBezTo>
                  <a:pt x="105705" y="73184"/>
                  <a:pt x="105705" y="79215"/>
                  <a:pt x="101985" y="8293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2440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75326F89-5A16-A33F-B8BF-68A53E3CBBA1}"/>
              </a:ext>
            </a:extLst>
          </p:cNvPr>
          <p:cNvSpPr/>
          <p:nvPr/>
        </p:nvSpPr>
        <p:spPr>
          <a:xfrm>
            <a:off x="639764" y="1330081"/>
            <a:ext cx="10925180" cy="3346849"/>
          </a:xfrm>
          <a:prstGeom prst="roundRect">
            <a:avLst>
              <a:gd name="adj" fmla="val 7107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E5F3AE3-5E4F-0B0D-43AE-F3F9C07D73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1F1F53B-5FC6-D059-8A3E-73FE1FB37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рхитектура </a:t>
            </a:r>
            <a:r>
              <a:rPr lang="en" dirty="0"/>
              <a:t>Airflow</a:t>
            </a:r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21461D5-7568-D9F0-01B0-F457DB7EFC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58800" y="6465600"/>
            <a:ext cx="8794610" cy="144500"/>
          </a:xfrm>
        </p:spPr>
        <p:txBody>
          <a:bodyPr/>
          <a:lstStyle/>
          <a:p>
            <a:r>
              <a:rPr lang="ru-RU" dirty="0" err="1"/>
              <a:t>Харенслак</a:t>
            </a:r>
            <a:r>
              <a:rPr lang="ru-RU" dirty="0"/>
              <a:t> Б., де </a:t>
            </a:r>
            <a:r>
              <a:rPr lang="ru-RU" dirty="0" err="1"/>
              <a:t>Руйтер</a:t>
            </a:r>
            <a:r>
              <a:rPr lang="ru-RU" dirty="0"/>
              <a:t> Дж. </a:t>
            </a:r>
            <a:r>
              <a:rPr lang="en" dirty="0"/>
              <a:t>Apache Airflow </a:t>
            </a:r>
            <a:r>
              <a:rPr lang="ru-RU" dirty="0"/>
              <a:t>и конвейеры обработки данных / пер. с англ. Д. А. Беликова. –М.: ДМК Пресс, 2021. – 502 с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536F266-2B14-C321-59AE-212D61D2A37E}"/>
              </a:ext>
            </a:extLst>
          </p:cNvPr>
          <p:cNvSpPr txBox="1"/>
          <p:nvPr/>
        </p:nvSpPr>
        <p:spPr>
          <a:xfrm>
            <a:off x="1108204" y="1718950"/>
            <a:ext cx="442632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/>
              <a:t>В минимальном варианте </a:t>
            </a:r>
            <a:r>
              <a:rPr lang="ru-RU" sz="2400" dirty="0" err="1"/>
              <a:t>Airflow</a:t>
            </a:r>
            <a:r>
              <a:rPr lang="ru-RU" sz="2400" dirty="0"/>
              <a:t> состоит из </a:t>
            </a:r>
            <a:r>
              <a:rPr lang="ru-RU" sz="2400" b="1" dirty="0"/>
              <a:t>трёх компонентов</a:t>
            </a:r>
            <a:r>
              <a:rPr lang="ru-RU" sz="2400" dirty="0"/>
              <a:t>:</a:t>
            </a: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915DF2A4-063A-B607-2664-8F4C8B916CF1}"/>
              </a:ext>
            </a:extLst>
          </p:cNvPr>
          <p:cNvGrpSpPr/>
          <p:nvPr/>
        </p:nvGrpSpPr>
        <p:grpSpPr>
          <a:xfrm>
            <a:off x="1239569" y="3028506"/>
            <a:ext cx="2394882" cy="369332"/>
            <a:chOff x="1398004" y="2818839"/>
            <a:chExt cx="2394882" cy="369332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9107C66-4870-75A6-FE28-C3A6F9C76173}"/>
                </a:ext>
              </a:extLst>
            </p:cNvPr>
            <p:cNvSpPr txBox="1"/>
            <p:nvPr/>
          </p:nvSpPr>
          <p:spPr>
            <a:xfrm>
              <a:off x="1624264" y="2818839"/>
              <a:ext cx="2168622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b="1" dirty="0">
                  <a:solidFill>
                    <a:schemeClr val="accent1"/>
                  </a:solidFill>
                </a:rPr>
                <a:t>веб-сервер</a:t>
              </a:r>
            </a:p>
          </p:txBody>
        </p:sp>
        <p:sp>
          <p:nvSpPr>
            <p:cNvPr id="18" name="Рисунок 15">
              <a:extLst>
                <a:ext uri="{FF2B5EF4-FFF2-40B4-BE49-F238E27FC236}">
                  <a16:creationId xmlns:a16="http://schemas.microsoft.com/office/drawing/2014/main" id="{73AA296D-636A-C51A-CA7E-32EA4A60BDBE}"/>
                </a:ext>
              </a:extLst>
            </p:cNvPr>
            <p:cNvSpPr/>
            <p:nvPr/>
          </p:nvSpPr>
          <p:spPr>
            <a:xfrm rot="5400000">
              <a:off x="1398012" y="2937906"/>
              <a:ext cx="167397" cy="167413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8D96FD38-3DF6-41D7-E24B-E11D63793E48}"/>
              </a:ext>
            </a:extLst>
          </p:cNvPr>
          <p:cNvGrpSpPr/>
          <p:nvPr/>
        </p:nvGrpSpPr>
        <p:grpSpPr>
          <a:xfrm>
            <a:off x="1239569" y="3421233"/>
            <a:ext cx="2394882" cy="369332"/>
            <a:chOff x="1398004" y="2818839"/>
            <a:chExt cx="2394882" cy="369332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DFDD9E6-17E0-07BE-6E8B-B38E4FCBBDB3}"/>
                </a:ext>
              </a:extLst>
            </p:cNvPr>
            <p:cNvSpPr txBox="1"/>
            <p:nvPr/>
          </p:nvSpPr>
          <p:spPr>
            <a:xfrm>
              <a:off x="1624264" y="2818839"/>
              <a:ext cx="2168622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b="1" dirty="0">
                  <a:solidFill>
                    <a:schemeClr val="accent1"/>
                  </a:solidFill>
                </a:rPr>
                <a:t>планировщик</a:t>
              </a:r>
            </a:p>
          </p:txBody>
        </p:sp>
        <p:sp>
          <p:nvSpPr>
            <p:cNvPr id="22" name="Рисунок 15">
              <a:extLst>
                <a:ext uri="{FF2B5EF4-FFF2-40B4-BE49-F238E27FC236}">
                  <a16:creationId xmlns:a16="http://schemas.microsoft.com/office/drawing/2014/main" id="{5E643749-EA77-3F32-2188-32397316FD03}"/>
                </a:ext>
              </a:extLst>
            </p:cNvPr>
            <p:cNvSpPr/>
            <p:nvPr/>
          </p:nvSpPr>
          <p:spPr>
            <a:xfrm rot="5400000">
              <a:off x="1398012" y="2937906"/>
              <a:ext cx="167397" cy="167413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DCBE33A6-3CD2-3230-2CBB-1FC90F591565}"/>
              </a:ext>
            </a:extLst>
          </p:cNvPr>
          <p:cNvGrpSpPr/>
          <p:nvPr/>
        </p:nvGrpSpPr>
        <p:grpSpPr>
          <a:xfrm>
            <a:off x="1239569" y="3813960"/>
            <a:ext cx="2394882" cy="369332"/>
            <a:chOff x="1398004" y="2818839"/>
            <a:chExt cx="2394882" cy="369332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981E002-0A8B-2C5A-2FF9-19E3A4DFEA3D}"/>
                </a:ext>
              </a:extLst>
            </p:cNvPr>
            <p:cNvSpPr txBox="1"/>
            <p:nvPr/>
          </p:nvSpPr>
          <p:spPr>
            <a:xfrm>
              <a:off x="1624264" y="2818839"/>
              <a:ext cx="2168622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b="1" dirty="0">
                  <a:solidFill>
                    <a:schemeClr val="accent1"/>
                  </a:solidFill>
                </a:rPr>
                <a:t>база данных</a:t>
              </a:r>
            </a:p>
          </p:txBody>
        </p:sp>
        <p:sp>
          <p:nvSpPr>
            <p:cNvPr id="25" name="Рисунок 15">
              <a:extLst>
                <a:ext uri="{FF2B5EF4-FFF2-40B4-BE49-F238E27FC236}">
                  <a16:creationId xmlns:a16="http://schemas.microsoft.com/office/drawing/2014/main" id="{A2286824-CD95-846B-3202-02C5E7C368C5}"/>
                </a:ext>
              </a:extLst>
            </p:cNvPr>
            <p:cNvSpPr/>
            <p:nvPr/>
          </p:nvSpPr>
          <p:spPr>
            <a:xfrm rot="5400000">
              <a:off x="1398012" y="2937906"/>
              <a:ext cx="167397" cy="167413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7" name="Скругленный прямоугольник 26">
            <a:extLst>
              <a:ext uri="{FF2B5EF4-FFF2-40B4-BE49-F238E27FC236}">
                <a16:creationId xmlns:a16="http://schemas.microsoft.com/office/drawing/2014/main" id="{9286F5D0-09A8-F921-A7F7-0677F4F599FC}"/>
              </a:ext>
            </a:extLst>
          </p:cNvPr>
          <p:cNvSpPr/>
          <p:nvPr/>
        </p:nvSpPr>
        <p:spPr>
          <a:xfrm>
            <a:off x="5501868" y="1518701"/>
            <a:ext cx="5875627" cy="2965553"/>
          </a:xfrm>
          <a:prstGeom prst="roundRect">
            <a:avLst>
              <a:gd name="adj" fmla="val 462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DF19F0BF-8F1B-8746-2DFF-C1CB49E46140}"/>
              </a:ext>
            </a:extLst>
          </p:cNvPr>
          <p:cNvGrpSpPr/>
          <p:nvPr/>
        </p:nvGrpSpPr>
        <p:grpSpPr>
          <a:xfrm>
            <a:off x="6076563" y="2589023"/>
            <a:ext cx="4726235" cy="878965"/>
            <a:chOff x="6116799" y="2664701"/>
            <a:chExt cx="4726235" cy="878965"/>
          </a:xfrm>
        </p:grpSpPr>
        <p:sp>
          <p:nvSpPr>
            <p:cNvPr id="28" name="Полилиния: фигура 1352">
              <a:extLst>
                <a:ext uri="{FF2B5EF4-FFF2-40B4-BE49-F238E27FC236}">
                  <a16:creationId xmlns:a16="http://schemas.microsoft.com/office/drawing/2014/main" id="{F4029D6E-F466-52E1-09E2-59E3BC713410}"/>
                </a:ext>
              </a:extLst>
            </p:cNvPr>
            <p:cNvSpPr/>
            <p:nvPr/>
          </p:nvSpPr>
          <p:spPr>
            <a:xfrm>
              <a:off x="6116799" y="2664701"/>
              <a:ext cx="452585" cy="509155"/>
            </a:xfrm>
            <a:custGeom>
              <a:avLst/>
              <a:gdLst>
                <a:gd name="connsiteX0" fmla="*/ 33338 w 152400"/>
                <a:gd name="connsiteY0" fmla="*/ 104774 h 171449"/>
                <a:gd name="connsiteX1" fmla="*/ 76200 w 152400"/>
                <a:gd name="connsiteY1" fmla="*/ 114299 h 171449"/>
                <a:gd name="connsiteX2" fmla="*/ 119063 w 152400"/>
                <a:gd name="connsiteY2" fmla="*/ 104774 h 171449"/>
                <a:gd name="connsiteX3" fmla="*/ 152400 w 152400"/>
                <a:gd name="connsiteY3" fmla="*/ 138112 h 171449"/>
                <a:gd name="connsiteX4" fmla="*/ 76117 w 152400"/>
                <a:gd name="connsiteY4" fmla="*/ 171449 h 171449"/>
                <a:gd name="connsiteX5" fmla="*/ 0 w 152400"/>
                <a:gd name="connsiteY5" fmla="*/ 138112 h 171449"/>
                <a:gd name="connsiteX6" fmla="*/ 33338 w 152400"/>
                <a:gd name="connsiteY6" fmla="*/ 104774 h 171449"/>
                <a:gd name="connsiteX7" fmla="*/ 76200 w 152400"/>
                <a:gd name="connsiteY7" fmla="*/ 0 h 171449"/>
                <a:gd name="connsiteX8" fmla="*/ 123825 w 152400"/>
                <a:gd name="connsiteY8" fmla="*/ 47625 h 171449"/>
                <a:gd name="connsiteX9" fmla="*/ 76200 w 152400"/>
                <a:gd name="connsiteY9" fmla="*/ 95250 h 171449"/>
                <a:gd name="connsiteX10" fmla="*/ 28575 w 152400"/>
                <a:gd name="connsiteY10" fmla="*/ 47625 h 171449"/>
                <a:gd name="connsiteX11" fmla="*/ 76200 w 152400"/>
                <a:gd name="connsiteY11" fmla="*/ 0 h 171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2400" h="171449">
                  <a:moveTo>
                    <a:pt x="33338" y="104774"/>
                  </a:moveTo>
                  <a:cubicBezTo>
                    <a:pt x="47625" y="104821"/>
                    <a:pt x="47625" y="114299"/>
                    <a:pt x="76200" y="114299"/>
                  </a:cubicBezTo>
                  <a:cubicBezTo>
                    <a:pt x="104775" y="114299"/>
                    <a:pt x="104775" y="104774"/>
                    <a:pt x="119063" y="104774"/>
                  </a:cubicBezTo>
                  <a:cubicBezTo>
                    <a:pt x="128588" y="104774"/>
                    <a:pt x="152400" y="128587"/>
                    <a:pt x="152400" y="138112"/>
                  </a:cubicBezTo>
                  <a:cubicBezTo>
                    <a:pt x="152400" y="147637"/>
                    <a:pt x="128422" y="171449"/>
                    <a:pt x="76117" y="171449"/>
                  </a:cubicBezTo>
                  <a:cubicBezTo>
                    <a:pt x="23813" y="171449"/>
                    <a:pt x="0" y="147637"/>
                    <a:pt x="0" y="138112"/>
                  </a:cubicBezTo>
                  <a:cubicBezTo>
                    <a:pt x="0" y="128587"/>
                    <a:pt x="23813" y="104743"/>
                    <a:pt x="33338" y="104774"/>
                  </a:cubicBezTo>
                  <a:close/>
                  <a:moveTo>
                    <a:pt x="76200" y="0"/>
                  </a:moveTo>
                  <a:cubicBezTo>
                    <a:pt x="104775" y="0"/>
                    <a:pt x="123825" y="19050"/>
                    <a:pt x="123825" y="47625"/>
                  </a:cubicBezTo>
                  <a:cubicBezTo>
                    <a:pt x="123825" y="76200"/>
                    <a:pt x="104775" y="95250"/>
                    <a:pt x="76200" y="95250"/>
                  </a:cubicBezTo>
                  <a:cubicBezTo>
                    <a:pt x="47625" y="95250"/>
                    <a:pt x="28575" y="76200"/>
                    <a:pt x="28575" y="47625"/>
                  </a:cubicBezTo>
                  <a:cubicBezTo>
                    <a:pt x="28575" y="19050"/>
                    <a:pt x="47625" y="0"/>
                    <a:pt x="76200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1435">
              <a:extLst>
                <a:ext uri="{FF2B5EF4-FFF2-40B4-BE49-F238E27FC236}">
                  <a16:creationId xmlns:a16="http://schemas.microsoft.com/office/drawing/2014/main" id="{CE24C2EC-152B-40A3-5781-B1784DEB14D2}"/>
                </a:ext>
              </a:extLst>
            </p:cNvPr>
            <p:cNvSpPr/>
            <p:nvPr/>
          </p:nvSpPr>
          <p:spPr>
            <a:xfrm>
              <a:off x="8264013" y="2717223"/>
              <a:ext cx="452584" cy="452581"/>
            </a:xfrm>
            <a:custGeom>
              <a:avLst/>
              <a:gdLst>
                <a:gd name="connsiteX0" fmla="*/ 152001 w 171450"/>
                <a:gd name="connsiteY0" fmla="*/ 111469 h 171449"/>
                <a:gd name="connsiteX1" fmla="*/ 159294 w 171450"/>
                <a:gd name="connsiteY1" fmla="*/ 114301 h 171449"/>
                <a:gd name="connsiteX2" fmla="*/ 156343 w 171450"/>
                <a:gd name="connsiteY2" fmla="*/ 134937 h 171449"/>
                <a:gd name="connsiteX3" fmla="*/ 103970 w 171450"/>
                <a:gd name="connsiteY3" fmla="*/ 163888 h 171449"/>
                <a:gd name="connsiteX4" fmla="*/ 103330 w 171450"/>
                <a:gd name="connsiteY4" fmla="*/ 164242 h 171449"/>
                <a:gd name="connsiteX5" fmla="*/ 67712 w 171450"/>
                <a:gd name="connsiteY5" fmla="*/ 163888 h 171449"/>
                <a:gd name="connsiteX6" fmla="*/ 15340 w 171450"/>
                <a:gd name="connsiteY6" fmla="*/ 134937 h 171449"/>
                <a:gd name="connsiteX7" fmla="*/ 0 w 171450"/>
                <a:gd name="connsiteY7" fmla="*/ 123802 h 171449"/>
                <a:gd name="connsiteX8" fmla="*/ 12384 w 171450"/>
                <a:gd name="connsiteY8" fmla="*/ 114301 h 171449"/>
                <a:gd name="connsiteX9" fmla="*/ 27244 w 171450"/>
                <a:gd name="connsiteY9" fmla="*/ 114301 h 171449"/>
                <a:gd name="connsiteX10" fmla="*/ 63434 w 171450"/>
                <a:gd name="connsiteY10" fmla="*/ 134307 h 171449"/>
                <a:gd name="connsiteX11" fmla="*/ 74589 w 171450"/>
                <a:gd name="connsiteY11" fmla="*/ 140132 h 171449"/>
                <a:gd name="connsiteX12" fmla="*/ 85669 w 171450"/>
                <a:gd name="connsiteY12" fmla="*/ 142874 h 171449"/>
                <a:gd name="connsiteX13" fmla="*/ 96764 w 171450"/>
                <a:gd name="connsiteY13" fmla="*/ 140297 h 171449"/>
                <a:gd name="connsiteX14" fmla="*/ 107593 w 171450"/>
                <a:gd name="connsiteY14" fmla="*/ 134669 h 171449"/>
                <a:gd name="connsiteX15" fmla="*/ 144438 w 171450"/>
                <a:gd name="connsiteY15" fmla="*/ 114301 h 171449"/>
                <a:gd name="connsiteX16" fmla="*/ 152001 w 171450"/>
                <a:gd name="connsiteY16" fmla="*/ 111469 h 171449"/>
                <a:gd name="connsiteX17" fmla="*/ 152000 w 171450"/>
                <a:gd name="connsiteY17" fmla="*/ 73368 h 171449"/>
                <a:gd name="connsiteX18" fmla="*/ 159293 w 171450"/>
                <a:gd name="connsiteY18" fmla="*/ 76201 h 171449"/>
                <a:gd name="connsiteX19" fmla="*/ 156343 w 171450"/>
                <a:gd name="connsiteY19" fmla="*/ 96837 h 171449"/>
                <a:gd name="connsiteX20" fmla="*/ 103970 w 171450"/>
                <a:gd name="connsiteY20" fmla="*/ 125788 h 171449"/>
                <a:gd name="connsiteX21" fmla="*/ 103330 w 171450"/>
                <a:gd name="connsiteY21" fmla="*/ 126142 h 171449"/>
                <a:gd name="connsiteX22" fmla="*/ 67712 w 171450"/>
                <a:gd name="connsiteY22" fmla="*/ 125788 h 171449"/>
                <a:gd name="connsiteX23" fmla="*/ 15340 w 171450"/>
                <a:gd name="connsiteY23" fmla="*/ 96837 h 171449"/>
                <a:gd name="connsiteX24" fmla="*/ 0 w 171450"/>
                <a:gd name="connsiteY24" fmla="*/ 85702 h 171449"/>
                <a:gd name="connsiteX25" fmla="*/ 12384 w 171450"/>
                <a:gd name="connsiteY25" fmla="*/ 76201 h 171449"/>
                <a:gd name="connsiteX26" fmla="*/ 27244 w 171450"/>
                <a:gd name="connsiteY26" fmla="*/ 76201 h 171449"/>
                <a:gd name="connsiteX27" fmla="*/ 63446 w 171450"/>
                <a:gd name="connsiteY27" fmla="*/ 96213 h 171449"/>
                <a:gd name="connsiteX28" fmla="*/ 74714 w 171450"/>
                <a:gd name="connsiteY28" fmla="*/ 102086 h 171449"/>
                <a:gd name="connsiteX29" fmla="*/ 85956 w 171450"/>
                <a:gd name="connsiteY29" fmla="*/ 104774 h 171449"/>
                <a:gd name="connsiteX30" fmla="*/ 97134 w 171450"/>
                <a:gd name="connsiteY30" fmla="*/ 102034 h 171449"/>
                <a:gd name="connsiteX31" fmla="*/ 107745 w 171450"/>
                <a:gd name="connsiteY31" fmla="*/ 96484 h 171449"/>
                <a:gd name="connsiteX32" fmla="*/ 144438 w 171450"/>
                <a:gd name="connsiteY32" fmla="*/ 76201 h 171449"/>
                <a:gd name="connsiteX33" fmla="*/ 152000 w 171450"/>
                <a:gd name="connsiteY33" fmla="*/ 73368 h 171449"/>
                <a:gd name="connsiteX34" fmla="*/ 85842 w 171450"/>
                <a:gd name="connsiteY34" fmla="*/ 0 h 171449"/>
                <a:gd name="connsiteX35" fmla="*/ 103970 w 171450"/>
                <a:gd name="connsiteY35" fmla="*/ 7515 h 171449"/>
                <a:gd name="connsiteX36" fmla="*/ 156343 w 171450"/>
                <a:gd name="connsiteY36" fmla="*/ 36466 h 171449"/>
                <a:gd name="connsiteX37" fmla="*/ 156343 w 171450"/>
                <a:gd name="connsiteY37" fmla="*/ 58736 h 171449"/>
                <a:gd name="connsiteX38" fmla="*/ 103970 w 171450"/>
                <a:gd name="connsiteY38" fmla="*/ 87687 h 171449"/>
                <a:gd name="connsiteX39" fmla="*/ 67712 w 171450"/>
                <a:gd name="connsiteY39" fmla="*/ 87687 h 171449"/>
                <a:gd name="connsiteX40" fmla="*/ 15340 w 171450"/>
                <a:gd name="connsiteY40" fmla="*/ 58736 h 171449"/>
                <a:gd name="connsiteX41" fmla="*/ 15340 w 171450"/>
                <a:gd name="connsiteY41" fmla="*/ 36466 h 171449"/>
                <a:gd name="connsiteX42" fmla="*/ 67712 w 171450"/>
                <a:gd name="connsiteY42" fmla="*/ 7515 h 171449"/>
                <a:gd name="connsiteX43" fmla="*/ 85842 w 171450"/>
                <a:gd name="connsiteY43" fmla="*/ 0 h 171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71450" h="171449">
                  <a:moveTo>
                    <a:pt x="152001" y="111469"/>
                  </a:moveTo>
                  <a:cubicBezTo>
                    <a:pt x="154011" y="111491"/>
                    <a:pt x="155977" y="112457"/>
                    <a:pt x="159294" y="114301"/>
                  </a:cubicBezTo>
                  <a:cubicBezTo>
                    <a:pt x="176432" y="123831"/>
                    <a:pt x="175450" y="124375"/>
                    <a:pt x="156343" y="134937"/>
                  </a:cubicBezTo>
                  <a:lnTo>
                    <a:pt x="103970" y="163888"/>
                  </a:lnTo>
                  <a:cubicBezTo>
                    <a:pt x="103754" y="164008"/>
                    <a:pt x="103541" y="164125"/>
                    <a:pt x="103330" y="164242"/>
                  </a:cubicBezTo>
                  <a:cubicBezTo>
                    <a:pt x="85844" y="173910"/>
                    <a:pt x="85843" y="173911"/>
                    <a:pt x="67712" y="163888"/>
                  </a:cubicBezTo>
                  <a:lnTo>
                    <a:pt x="15340" y="134937"/>
                  </a:lnTo>
                  <a:cubicBezTo>
                    <a:pt x="5113" y="129284"/>
                    <a:pt x="0" y="126543"/>
                    <a:pt x="0" y="123802"/>
                  </a:cubicBezTo>
                  <a:cubicBezTo>
                    <a:pt x="0" y="121339"/>
                    <a:pt x="4128" y="118876"/>
                    <a:pt x="12384" y="114301"/>
                  </a:cubicBezTo>
                  <a:cubicBezTo>
                    <a:pt x="19015" y="110626"/>
                    <a:pt x="20254" y="110438"/>
                    <a:pt x="27244" y="114301"/>
                  </a:cubicBezTo>
                  <a:lnTo>
                    <a:pt x="63434" y="134307"/>
                  </a:lnTo>
                  <a:cubicBezTo>
                    <a:pt x="67684" y="136656"/>
                    <a:pt x="71389" y="138705"/>
                    <a:pt x="74589" y="140132"/>
                  </a:cubicBezTo>
                  <a:cubicBezTo>
                    <a:pt x="77984" y="141644"/>
                    <a:pt x="81597" y="142833"/>
                    <a:pt x="85669" y="142874"/>
                  </a:cubicBezTo>
                  <a:cubicBezTo>
                    <a:pt x="89771" y="142915"/>
                    <a:pt x="93384" y="141781"/>
                    <a:pt x="96764" y="140297"/>
                  </a:cubicBezTo>
                  <a:cubicBezTo>
                    <a:pt x="99912" y="138917"/>
                    <a:pt x="103518" y="136923"/>
                    <a:pt x="107593" y="134669"/>
                  </a:cubicBezTo>
                  <a:lnTo>
                    <a:pt x="144438" y="114301"/>
                  </a:lnTo>
                  <a:cubicBezTo>
                    <a:pt x="147934" y="112369"/>
                    <a:pt x="149990" y="111446"/>
                    <a:pt x="152001" y="111469"/>
                  </a:cubicBezTo>
                  <a:close/>
                  <a:moveTo>
                    <a:pt x="152000" y="73368"/>
                  </a:moveTo>
                  <a:cubicBezTo>
                    <a:pt x="154010" y="73390"/>
                    <a:pt x="155976" y="74356"/>
                    <a:pt x="159293" y="76201"/>
                  </a:cubicBezTo>
                  <a:cubicBezTo>
                    <a:pt x="176432" y="85731"/>
                    <a:pt x="175450" y="86275"/>
                    <a:pt x="156343" y="96837"/>
                  </a:cubicBezTo>
                  <a:lnTo>
                    <a:pt x="103970" y="125788"/>
                  </a:lnTo>
                  <a:cubicBezTo>
                    <a:pt x="103754" y="125908"/>
                    <a:pt x="103541" y="126025"/>
                    <a:pt x="103330" y="126142"/>
                  </a:cubicBezTo>
                  <a:cubicBezTo>
                    <a:pt x="85844" y="135810"/>
                    <a:pt x="85843" y="135811"/>
                    <a:pt x="67712" y="125788"/>
                  </a:cubicBezTo>
                  <a:lnTo>
                    <a:pt x="15340" y="96837"/>
                  </a:lnTo>
                  <a:cubicBezTo>
                    <a:pt x="5113" y="91184"/>
                    <a:pt x="0" y="88443"/>
                    <a:pt x="0" y="85702"/>
                  </a:cubicBezTo>
                  <a:cubicBezTo>
                    <a:pt x="0" y="83239"/>
                    <a:pt x="4128" y="80776"/>
                    <a:pt x="12384" y="76201"/>
                  </a:cubicBezTo>
                  <a:cubicBezTo>
                    <a:pt x="19015" y="72526"/>
                    <a:pt x="20254" y="72337"/>
                    <a:pt x="27244" y="76201"/>
                  </a:cubicBezTo>
                  <a:lnTo>
                    <a:pt x="63446" y="96213"/>
                  </a:lnTo>
                  <a:cubicBezTo>
                    <a:pt x="67740" y="98587"/>
                    <a:pt x="71481" y="100655"/>
                    <a:pt x="74714" y="102086"/>
                  </a:cubicBezTo>
                  <a:cubicBezTo>
                    <a:pt x="78157" y="103610"/>
                    <a:pt x="81820" y="104788"/>
                    <a:pt x="85956" y="104774"/>
                  </a:cubicBezTo>
                  <a:cubicBezTo>
                    <a:pt x="90092" y="104761"/>
                    <a:pt x="93734" y="103558"/>
                    <a:pt x="97134" y="102034"/>
                  </a:cubicBezTo>
                  <a:cubicBezTo>
                    <a:pt x="100194" y="100661"/>
                    <a:pt x="103730" y="98706"/>
                    <a:pt x="107745" y="96484"/>
                  </a:cubicBezTo>
                  <a:lnTo>
                    <a:pt x="144438" y="76201"/>
                  </a:lnTo>
                  <a:cubicBezTo>
                    <a:pt x="147934" y="74269"/>
                    <a:pt x="149989" y="73347"/>
                    <a:pt x="152000" y="73368"/>
                  </a:cubicBezTo>
                  <a:close/>
                  <a:moveTo>
                    <a:pt x="85842" y="0"/>
                  </a:moveTo>
                  <a:cubicBezTo>
                    <a:pt x="90375" y="0"/>
                    <a:pt x="94907" y="2505"/>
                    <a:pt x="103970" y="7515"/>
                  </a:cubicBezTo>
                  <a:cubicBezTo>
                    <a:pt x="124424" y="18820"/>
                    <a:pt x="135890" y="25160"/>
                    <a:pt x="156343" y="36466"/>
                  </a:cubicBezTo>
                  <a:cubicBezTo>
                    <a:pt x="176484" y="47600"/>
                    <a:pt x="176486" y="47601"/>
                    <a:pt x="156343" y="58736"/>
                  </a:cubicBezTo>
                  <a:lnTo>
                    <a:pt x="103970" y="87687"/>
                  </a:lnTo>
                  <a:cubicBezTo>
                    <a:pt x="85841" y="97707"/>
                    <a:pt x="86062" y="97831"/>
                    <a:pt x="67712" y="87687"/>
                  </a:cubicBezTo>
                  <a:lnTo>
                    <a:pt x="15340" y="58736"/>
                  </a:lnTo>
                  <a:cubicBezTo>
                    <a:pt x="-5113" y="47430"/>
                    <a:pt x="-5113" y="47772"/>
                    <a:pt x="15340" y="36466"/>
                  </a:cubicBezTo>
                  <a:lnTo>
                    <a:pt x="67712" y="7515"/>
                  </a:lnTo>
                  <a:cubicBezTo>
                    <a:pt x="76776" y="2504"/>
                    <a:pt x="81309" y="0"/>
                    <a:pt x="85842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1415">
              <a:extLst>
                <a:ext uri="{FF2B5EF4-FFF2-40B4-BE49-F238E27FC236}">
                  <a16:creationId xmlns:a16="http://schemas.microsoft.com/office/drawing/2014/main" id="{6AF1A21C-4A14-2748-E17D-CFD0F2771637}"/>
                </a:ext>
              </a:extLst>
            </p:cNvPr>
            <p:cNvSpPr/>
            <p:nvPr/>
          </p:nvSpPr>
          <p:spPr>
            <a:xfrm>
              <a:off x="7190405" y="2717390"/>
              <a:ext cx="452587" cy="452581"/>
            </a:xfrm>
            <a:custGeom>
              <a:avLst/>
              <a:gdLst>
                <a:gd name="connsiteX0" fmla="*/ 2372 w 152401"/>
                <a:gd name="connsiteY0" fmla="*/ 54148 h 152399"/>
                <a:gd name="connsiteX1" fmla="*/ 18974 w 152401"/>
                <a:gd name="connsiteY1" fmla="*/ 57698 h 152399"/>
                <a:gd name="connsiteX2" fmla="*/ 76200 w 152401"/>
                <a:gd name="connsiteY2" fmla="*/ 66674 h 152399"/>
                <a:gd name="connsiteX3" fmla="*/ 133426 w 152401"/>
                <a:gd name="connsiteY3" fmla="*/ 57698 h 152399"/>
                <a:gd name="connsiteX4" fmla="*/ 152400 w 152401"/>
                <a:gd name="connsiteY4" fmla="*/ 66596 h 152399"/>
                <a:gd name="connsiteX5" fmla="*/ 152400 w 152401"/>
                <a:gd name="connsiteY5" fmla="*/ 123824 h 152399"/>
                <a:gd name="connsiteX6" fmla="*/ 76200 w 152401"/>
                <a:gd name="connsiteY6" fmla="*/ 152399 h 152399"/>
                <a:gd name="connsiteX7" fmla="*/ 0 w 152401"/>
                <a:gd name="connsiteY7" fmla="*/ 123824 h 152399"/>
                <a:gd name="connsiteX8" fmla="*/ 0 w 152401"/>
                <a:gd name="connsiteY8" fmla="*/ 66596 h 152399"/>
                <a:gd name="connsiteX9" fmla="*/ 2372 w 152401"/>
                <a:gd name="connsiteY9" fmla="*/ 54148 h 152399"/>
                <a:gd name="connsiteX10" fmla="*/ 76201 w 152401"/>
                <a:gd name="connsiteY10" fmla="*/ 0 h 152399"/>
                <a:gd name="connsiteX11" fmla="*/ 152401 w 152401"/>
                <a:gd name="connsiteY11" fmla="*/ 28575 h 152399"/>
                <a:gd name="connsiteX12" fmla="*/ 76201 w 152401"/>
                <a:gd name="connsiteY12" fmla="*/ 57150 h 152399"/>
                <a:gd name="connsiteX13" fmla="*/ 1 w 152401"/>
                <a:gd name="connsiteY13" fmla="*/ 28575 h 152399"/>
                <a:gd name="connsiteX14" fmla="*/ 76201 w 152401"/>
                <a:gd name="connsiteY14" fmla="*/ 0 h 152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2401" h="152399">
                  <a:moveTo>
                    <a:pt x="2372" y="54148"/>
                  </a:moveTo>
                  <a:cubicBezTo>
                    <a:pt x="4744" y="52811"/>
                    <a:pt x="9487" y="54141"/>
                    <a:pt x="18974" y="57698"/>
                  </a:cubicBezTo>
                  <a:cubicBezTo>
                    <a:pt x="34084" y="63364"/>
                    <a:pt x="54318" y="66674"/>
                    <a:pt x="76200" y="66674"/>
                  </a:cubicBezTo>
                  <a:cubicBezTo>
                    <a:pt x="98082" y="66674"/>
                    <a:pt x="118317" y="63364"/>
                    <a:pt x="133426" y="57698"/>
                  </a:cubicBezTo>
                  <a:cubicBezTo>
                    <a:pt x="152400" y="50583"/>
                    <a:pt x="152400" y="52380"/>
                    <a:pt x="152400" y="66596"/>
                  </a:cubicBezTo>
                  <a:lnTo>
                    <a:pt x="152400" y="123824"/>
                  </a:lnTo>
                  <a:cubicBezTo>
                    <a:pt x="152400" y="139605"/>
                    <a:pt x="118284" y="152399"/>
                    <a:pt x="76200" y="152399"/>
                  </a:cubicBezTo>
                  <a:cubicBezTo>
                    <a:pt x="34116" y="152399"/>
                    <a:pt x="0" y="139605"/>
                    <a:pt x="0" y="123824"/>
                  </a:cubicBezTo>
                  <a:lnTo>
                    <a:pt x="0" y="66596"/>
                  </a:lnTo>
                  <a:cubicBezTo>
                    <a:pt x="0" y="59488"/>
                    <a:pt x="0" y="55485"/>
                    <a:pt x="2372" y="54148"/>
                  </a:cubicBezTo>
                  <a:close/>
                  <a:moveTo>
                    <a:pt x="76201" y="0"/>
                  </a:moveTo>
                  <a:cubicBezTo>
                    <a:pt x="118285" y="0"/>
                    <a:pt x="152401" y="12794"/>
                    <a:pt x="152401" y="28575"/>
                  </a:cubicBezTo>
                  <a:cubicBezTo>
                    <a:pt x="152401" y="44356"/>
                    <a:pt x="118285" y="57150"/>
                    <a:pt x="76201" y="57150"/>
                  </a:cubicBezTo>
                  <a:cubicBezTo>
                    <a:pt x="34117" y="57150"/>
                    <a:pt x="1" y="44356"/>
                    <a:pt x="1" y="28575"/>
                  </a:cubicBezTo>
                  <a:cubicBezTo>
                    <a:pt x="1" y="12794"/>
                    <a:pt x="34117" y="0"/>
                    <a:pt x="76201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Рисунок 757">
              <a:extLst>
                <a:ext uri="{FF2B5EF4-FFF2-40B4-BE49-F238E27FC236}">
                  <a16:creationId xmlns:a16="http://schemas.microsoft.com/office/drawing/2014/main" id="{EF513928-D83A-5D5E-9388-1997A9EFB4AA}"/>
                </a:ext>
              </a:extLst>
            </p:cNvPr>
            <p:cNvSpPr/>
            <p:nvPr/>
          </p:nvSpPr>
          <p:spPr>
            <a:xfrm>
              <a:off x="10401434" y="2745982"/>
              <a:ext cx="399231" cy="354870"/>
            </a:xfrm>
            <a:custGeom>
              <a:avLst/>
              <a:gdLst>
                <a:gd name="connsiteX0" fmla="*/ 0 w 171450"/>
                <a:gd name="connsiteY0" fmla="*/ 95250 h 152399"/>
                <a:gd name="connsiteX1" fmla="*/ 38100 w 171450"/>
                <a:gd name="connsiteY1" fmla="*/ 0 h 152399"/>
                <a:gd name="connsiteX2" fmla="*/ 94655 w 171450"/>
                <a:gd name="connsiteY2" fmla="*/ 23217 h 152399"/>
                <a:gd name="connsiteX3" fmla="*/ 90488 w 171450"/>
                <a:gd name="connsiteY3" fmla="*/ 28575 h 152399"/>
                <a:gd name="connsiteX4" fmla="*/ 50003 w 171450"/>
                <a:gd name="connsiteY4" fmla="*/ 30707 h 152399"/>
                <a:gd name="connsiteX5" fmla="*/ 25662 w 171450"/>
                <a:gd name="connsiteY5" fmla="*/ 38283 h 152399"/>
                <a:gd name="connsiteX6" fmla="*/ 19050 w 171450"/>
                <a:gd name="connsiteY6" fmla="*/ 61911 h 152399"/>
                <a:gd name="connsiteX7" fmla="*/ 19050 w 171450"/>
                <a:gd name="connsiteY7" fmla="*/ 109536 h 152399"/>
                <a:gd name="connsiteX8" fmla="*/ 23813 w 171450"/>
                <a:gd name="connsiteY8" fmla="*/ 114299 h 152399"/>
                <a:gd name="connsiteX9" fmla="*/ 28575 w 171450"/>
                <a:gd name="connsiteY9" fmla="*/ 109536 h 152399"/>
                <a:gd name="connsiteX10" fmla="*/ 28575 w 171450"/>
                <a:gd name="connsiteY10" fmla="*/ 61911 h 152399"/>
                <a:gd name="connsiteX11" fmla="*/ 40067 w 171450"/>
                <a:gd name="connsiteY11" fmla="*/ 41919 h 152399"/>
                <a:gd name="connsiteX12" fmla="*/ 123351 w 171450"/>
                <a:gd name="connsiteY12" fmla="*/ 40440 h 152399"/>
                <a:gd name="connsiteX13" fmla="*/ 171450 w 171450"/>
                <a:gd name="connsiteY13" fmla="*/ 95250 h 152399"/>
                <a:gd name="connsiteX14" fmla="*/ 85725 w 171450"/>
                <a:gd name="connsiteY14" fmla="*/ 152400 h 152399"/>
                <a:gd name="connsiteX15" fmla="*/ 0 w 171450"/>
                <a:gd name="connsiteY15" fmla="*/ 95250 h 152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52399">
                  <a:moveTo>
                    <a:pt x="0" y="95250"/>
                  </a:moveTo>
                  <a:cubicBezTo>
                    <a:pt x="0" y="9524"/>
                    <a:pt x="0" y="0"/>
                    <a:pt x="38100" y="0"/>
                  </a:cubicBezTo>
                  <a:cubicBezTo>
                    <a:pt x="76194" y="0"/>
                    <a:pt x="80963" y="0"/>
                    <a:pt x="94655" y="23217"/>
                  </a:cubicBezTo>
                  <a:cubicBezTo>
                    <a:pt x="96446" y="26256"/>
                    <a:pt x="95403" y="28575"/>
                    <a:pt x="90488" y="28575"/>
                  </a:cubicBezTo>
                  <a:cubicBezTo>
                    <a:pt x="72665" y="28575"/>
                    <a:pt x="61926" y="29085"/>
                    <a:pt x="50003" y="30707"/>
                  </a:cubicBezTo>
                  <a:cubicBezTo>
                    <a:pt x="42050" y="31626"/>
                    <a:pt x="31910" y="32612"/>
                    <a:pt x="25662" y="38283"/>
                  </a:cubicBezTo>
                  <a:cubicBezTo>
                    <a:pt x="19727" y="43670"/>
                    <a:pt x="19050" y="51894"/>
                    <a:pt x="19050" y="61911"/>
                  </a:cubicBezTo>
                  <a:lnTo>
                    <a:pt x="19050" y="109536"/>
                  </a:lnTo>
                  <a:cubicBezTo>
                    <a:pt x="19050" y="112166"/>
                    <a:pt x="21182" y="114299"/>
                    <a:pt x="23813" y="114299"/>
                  </a:cubicBezTo>
                  <a:cubicBezTo>
                    <a:pt x="26443" y="114299"/>
                    <a:pt x="28575" y="112166"/>
                    <a:pt x="28575" y="109536"/>
                  </a:cubicBezTo>
                  <a:lnTo>
                    <a:pt x="28575" y="61911"/>
                  </a:lnTo>
                  <a:cubicBezTo>
                    <a:pt x="28575" y="51501"/>
                    <a:pt x="29332" y="44408"/>
                    <a:pt x="40067" y="41919"/>
                  </a:cubicBezTo>
                  <a:cubicBezTo>
                    <a:pt x="63613" y="37835"/>
                    <a:pt x="92811" y="36406"/>
                    <a:pt x="123351" y="40440"/>
                  </a:cubicBezTo>
                  <a:cubicBezTo>
                    <a:pt x="156830" y="44861"/>
                    <a:pt x="171450" y="47626"/>
                    <a:pt x="171450" y="95250"/>
                  </a:cubicBezTo>
                  <a:cubicBezTo>
                    <a:pt x="171450" y="142874"/>
                    <a:pt x="161925" y="152400"/>
                    <a:pt x="85725" y="152400"/>
                  </a:cubicBezTo>
                  <a:cubicBezTo>
                    <a:pt x="9525" y="152400"/>
                    <a:pt x="0" y="142874"/>
                    <a:pt x="0" y="9525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Рисунок 45">
              <a:extLst>
                <a:ext uri="{FF2B5EF4-FFF2-40B4-BE49-F238E27FC236}">
                  <a16:creationId xmlns:a16="http://schemas.microsoft.com/office/drawing/2014/main" id="{7B23E741-5146-9E8C-6552-396C650BA184}"/>
                </a:ext>
              </a:extLst>
            </p:cNvPr>
            <p:cNvSpPr/>
            <p:nvPr/>
          </p:nvSpPr>
          <p:spPr>
            <a:xfrm>
              <a:off x="9351646" y="2703916"/>
              <a:ext cx="441364" cy="441364"/>
            </a:xfrm>
            <a:custGeom>
              <a:avLst/>
              <a:gdLst>
                <a:gd name="connsiteX0" fmla="*/ 171450 w 171450"/>
                <a:gd name="connsiteY0" fmla="*/ 85725 h 171450"/>
                <a:gd name="connsiteX1" fmla="*/ 85725 w 171450"/>
                <a:gd name="connsiteY1" fmla="*/ 171450 h 171450"/>
                <a:gd name="connsiteX2" fmla="*/ 0 w 171450"/>
                <a:gd name="connsiteY2" fmla="*/ 85725 h 171450"/>
                <a:gd name="connsiteX3" fmla="*/ 85725 w 171450"/>
                <a:gd name="connsiteY3" fmla="*/ 0 h 171450"/>
                <a:gd name="connsiteX4" fmla="*/ 171450 w 171450"/>
                <a:gd name="connsiteY4" fmla="*/ 85725 h 171450"/>
                <a:gd name="connsiteX5" fmla="*/ 85725 w 171450"/>
                <a:gd name="connsiteY5" fmla="*/ 38100 h 171450"/>
                <a:gd name="connsiteX6" fmla="*/ 76200 w 171450"/>
                <a:gd name="connsiteY6" fmla="*/ 47625 h 171450"/>
                <a:gd name="connsiteX7" fmla="*/ 76200 w 171450"/>
                <a:gd name="connsiteY7" fmla="*/ 85725 h 171450"/>
                <a:gd name="connsiteX8" fmla="*/ 78990 w 171450"/>
                <a:gd name="connsiteY8" fmla="*/ 92460 h 171450"/>
                <a:gd name="connsiteX9" fmla="*/ 107565 w 171450"/>
                <a:gd name="connsiteY9" fmla="*/ 121035 h 171450"/>
                <a:gd name="connsiteX10" fmla="*/ 121035 w 171450"/>
                <a:gd name="connsiteY10" fmla="*/ 121035 h 171450"/>
                <a:gd name="connsiteX11" fmla="*/ 121035 w 171450"/>
                <a:gd name="connsiteY11" fmla="*/ 107565 h 171450"/>
                <a:gd name="connsiteX12" fmla="*/ 95250 w 171450"/>
                <a:gd name="connsiteY12" fmla="*/ 81780 h 171450"/>
                <a:gd name="connsiteX13" fmla="*/ 95250 w 171450"/>
                <a:gd name="connsiteY13" fmla="*/ 47625 h 171450"/>
                <a:gd name="connsiteX14" fmla="*/ 85725 w 171450"/>
                <a:gd name="connsiteY14" fmla="*/ 3810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71450">
                  <a:moveTo>
                    <a:pt x="171450" y="85725"/>
                  </a:moveTo>
                  <a:cubicBezTo>
                    <a:pt x="171450" y="138915"/>
                    <a:pt x="138915" y="171450"/>
                    <a:pt x="85725" y="171450"/>
                  </a:cubicBezTo>
                  <a:cubicBezTo>
                    <a:pt x="32535" y="171450"/>
                    <a:pt x="0" y="138915"/>
                    <a:pt x="0" y="85725"/>
                  </a:cubicBezTo>
                  <a:cubicBezTo>
                    <a:pt x="0" y="32535"/>
                    <a:pt x="32535" y="0"/>
                    <a:pt x="85725" y="0"/>
                  </a:cubicBezTo>
                  <a:cubicBezTo>
                    <a:pt x="138915" y="0"/>
                    <a:pt x="171450" y="32535"/>
                    <a:pt x="171450" y="85725"/>
                  </a:cubicBezTo>
                  <a:close/>
                  <a:moveTo>
                    <a:pt x="85725" y="38100"/>
                  </a:moveTo>
                  <a:cubicBezTo>
                    <a:pt x="80464" y="38100"/>
                    <a:pt x="76200" y="42365"/>
                    <a:pt x="76200" y="47625"/>
                  </a:cubicBezTo>
                  <a:lnTo>
                    <a:pt x="76200" y="85725"/>
                  </a:lnTo>
                  <a:cubicBezTo>
                    <a:pt x="76200" y="88251"/>
                    <a:pt x="77204" y="90674"/>
                    <a:pt x="78990" y="92460"/>
                  </a:cubicBezTo>
                  <a:lnTo>
                    <a:pt x="107565" y="121035"/>
                  </a:lnTo>
                  <a:cubicBezTo>
                    <a:pt x="111284" y="124755"/>
                    <a:pt x="117316" y="124755"/>
                    <a:pt x="121035" y="121035"/>
                  </a:cubicBezTo>
                  <a:cubicBezTo>
                    <a:pt x="124755" y="117316"/>
                    <a:pt x="124755" y="111284"/>
                    <a:pt x="121035" y="107565"/>
                  </a:cubicBezTo>
                  <a:lnTo>
                    <a:pt x="95250" y="81780"/>
                  </a:lnTo>
                  <a:lnTo>
                    <a:pt x="95250" y="47625"/>
                  </a:lnTo>
                  <a:cubicBezTo>
                    <a:pt x="95250" y="42365"/>
                    <a:pt x="90986" y="38100"/>
                    <a:pt x="85725" y="381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cxnSp>
          <p:nvCxnSpPr>
            <p:cNvPr id="35" name="Прямая со стрелкой 34">
              <a:extLst>
                <a:ext uri="{FF2B5EF4-FFF2-40B4-BE49-F238E27FC236}">
                  <a16:creationId xmlns:a16="http://schemas.microsoft.com/office/drawing/2014/main" id="{8511EF89-E232-47EA-16ED-EFEFC9F51B17}"/>
                </a:ext>
              </a:extLst>
            </p:cNvPr>
            <p:cNvCxnSpPr/>
            <p:nvPr/>
          </p:nvCxnSpPr>
          <p:spPr>
            <a:xfrm>
              <a:off x="6569384" y="2919279"/>
              <a:ext cx="550554" cy="0"/>
            </a:xfrm>
            <a:prstGeom prst="straightConnector1">
              <a:avLst/>
            </a:prstGeom>
            <a:ln w="12700">
              <a:solidFill>
                <a:schemeClr val="tx2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Прямая со стрелкой 35">
              <a:extLst>
                <a:ext uri="{FF2B5EF4-FFF2-40B4-BE49-F238E27FC236}">
                  <a16:creationId xmlns:a16="http://schemas.microsoft.com/office/drawing/2014/main" id="{E9DB9DEB-7ABB-AAEC-A2D2-B1E565D99A36}"/>
                </a:ext>
              </a:extLst>
            </p:cNvPr>
            <p:cNvCxnSpPr/>
            <p:nvPr/>
          </p:nvCxnSpPr>
          <p:spPr>
            <a:xfrm>
              <a:off x="7679047" y="2919279"/>
              <a:ext cx="550554" cy="0"/>
            </a:xfrm>
            <a:prstGeom prst="straightConnector1">
              <a:avLst/>
            </a:prstGeom>
            <a:ln w="12700">
              <a:solidFill>
                <a:schemeClr val="tx2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Прямая со стрелкой 36">
              <a:extLst>
                <a:ext uri="{FF2B5EF4-FFF2-40B4-BE49-F238E27FC236}">
                  <a16:creationId xmlns:a16="http://schemas.microsoft.com/office/drawing/2014/main" id="{A56F00B3-DF8C-4350-CEF2-504AF8AD9107}"/>
                </a:ext>
              </a:extLst>
            </p:cNvPr>
            <p:cNvCxnSpPr/>
            <p:nvPr/>
          </p:nvCxnSpPr>
          <p:spPr>
            <a:xfrm>
              <a:off x="8759462" y="2919279"/>
              <a:ext cx="550554" cy="0"/>
            </a:xfrm>
            <a:prstGeom prst="straightConnector1">
              <a:avLst/>
            </a:prstGeom>
            <a:ln w="12700">
              <a:solidFill>
                <a:schemeClr val="tx2"/>
              </a:solidFill>
              <a:prstDash val="dash"/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Прямая со стрелкой 37">
              <a:extLst>
                <a:ext uri="{FF2B5EF4-FFF2-40B4-BE49-F238E27FC236}">
                  <a16:creationId xmlns:a16="http://schemas.microsoft.com/office/drawing/2014/main" id="{9CC8288E-5DFF-5906-0243-F1E4DFD81E8A}"/>
                </a:ext>
              </a:extLst>
            </p:cNvPr>
            <p:cNvCxnSpPr/>
            <p:nvPr/>
          </p:nvCxnSpPr>
          <p:spPr>
            <a:xfrm>
              <a:off x="9827067" y="2919279"/>
              <a:ext cx="550554" cy="0"/>
            </a:xfrm>
            <a:prstGeom prst="straightConnector1">
              <a:avLst/>
            </a:prstGeom>
            <a:ln w="12700">
              <a:solidFill>
                <a:schemeClr val="tx2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8E4CF80-2976-98B1-8852-08B3F469B986}"/>
                </a:ext>
              </a:extLst>
            </p:cNvPr>
            <p:cNvSpPr txBox="1"/>
            <p:nvPr/>
          </p:nvSpPr>
          <p:spPr>
            <a:xfrm>
              <a:off x="7042394" y="3293410"/>
              <a:ext cx="748608" cy="2502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ru-RU" sz="1200" dirty="0"/>
                <a:t>Веб-сервер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7A8CF5E7-C4E4-0DA0-031B-42F4DA1EB66E}"/>
                </a:ext>
              </a:extLst>
            </p:cNvPr>
            <p:cNvSpPr txBox="1"/>
            <p:nvPr/>
          </p:nvSpPr>
          <p:spPr>
            <a:xfrm>
              <a:off x="8051323" y="3290052"/>
              <a:ext cx="877963" cy="2502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ru-RU" sz="1200" dirty="0"/>
                <a:t>База данных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34C11804-3BD8-7297-9558-50EEA30CFD58}"/>
                </a:ext>
              </a:extLst>
            </p:cNvPr>
            <p:cNvSpPr txBox="1"/>
            <p:nvPr/>
          </p:nvSpPr>
          <p:spPr>
            <a:xfrm>
              <a:off x="9074876" y="3290052"/>
              <a:ext cx="994904" cy="2502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ru-RU" sz="1200" dirty="0"/>
                <a:t>Планировщик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A2F31B46-41CE-4795-407D-B980700EE07D}"/>
                </a:ext>
              </a:extLst>
            </p:cNvPr>
            <p:cNvSpPr txBox="1"/>
            <p:nvPr/>
          </p:nvSpPr>
          <p:spPr>
            <a:xfrm>
              <a:off x="10359064" y="3292132"/>
              <a:ext cx="483970" cy="2502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ru-RU" sz="1200" dirty="0"/>
                <a:t>ОАГ</a:t>
              </a: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546D163E-FAF2-4872-DE55-53D6CCC28992}"/>
              </a:ext>
            </a:extLst>
          </p:cNvPr>
          <p:cNvSpPr txBox="1"/>
          <p:nvPr/>
        </p:nvSpPr>
        <p:spPr>
          <a:xfrm>
            <a:off x="639765" y="4898636"/>
            <a:ext cx="8954810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16000" indent="-216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400" b="1" dirty="0"/>
              <a:t>Веб-сервер</a:t>
            </a:r>
            <a:r>
              <a:rPr lang="ru-RU" sz="1400" dirty="0"/>
              <a:t> и </a:t>
            </a:r>
            <a:r>
              <a:rPr lang="ru-RU" sz="1400" b="1" dirty="0"/>
              <a:t>планировщик</a:t>
            </a:r>
            <a:r>
              <a:rPr lang="ru-RU" sz="1400" dirty="0"/>
              <a:t> – это процессы </a:t>
            </a:r>
            <a:r>
              <a:rPr lang="ru-RU" sz="1400" dirty="0" err="1"/>
              <a:t>Airflow</a:t>
            </a:r>
            <a:endParaRPr lang="ru-RU" sz="1400" dirty="0"/>
          </a:p>
          <a:p>
            <a:pPr marL="216000" indent="-216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400" b="1" dirty="0"/>
              <a:t>База данных </a:t>
            </a:r>
            <a:r>
              <a:rPr lang="ru-RU" sz="1400" dirty="0"/>
              <a:t>– отдельная служба, которую вы должны предоставить </a:t>
            </a:r>
            <a:r>
              <a:rPr lang="ru-RU" sz="1400" dirty="0" err="1"/>
              <a:t>Airflow</a:t>
            </a:r>
            <a:r>
              <a:rPr lang="ru-RU" sz="1400" dirty="0"/>
              <a:t> для хранения метаданных с веб-сервера и планировщика</a:t>
            </a:r>
          </a:p>
          <a:p>
            <a:pPr marL="216000" indent="-216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400" dirty="0"/>
              <a:t>Папка с определениями ОАГ должна быть доступна планировщику</a:t>
            </a:r>
          </a:p>
        </p:txBody>
      </p:sp>
    </p:spTree>
    <p:extLst>
      <p:ext uri="{BB962C8B-B14F-4D97-AF65-F5344CB8AC3E}">
        <p14:creationId xmlns:p14="http://schemas.microsoft.com/office/powerpoint/2010/main" val="170008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AEA0575-CCE6-38F6-1031-D78CDF0D3E35}"/>
              </a:ext>
            </a:extLst>
          </p:cNvPr>
          <p:cNvSpPr/>
          <p:nvPr/>
        </p:nvSpPr>
        <p:spPr>
          <a:xfrm>
            <a:off x="7004050" y="0"/>
            <a:ext cx="51879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dirty="0" err="1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45F9AA0-F219-AF78-1FC7-D0175FFBC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071A0630-49DF-DF25-21B4-A672B0BB74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дготовка окружения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1C549F42-7146-2B3A-ACEF-8DCE0E2ACAEE}"/>
              </a:ext>
            </a:extLst>
          </p:cNvPr>
          <p:cNvGrpSpPr/>
          <p:nvPr/>
        </p:nvGrpSpPr>
        <p:grpSpPr>
          <a:xfrm>
            <a:off x="697651" y="1787558"/>
            <a:ext cx="5279577" cy="369332"/>
            <a:chOff x="697651" y="4284681"/>
            <a:chExt cx="5279577" cy="369332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F54E98D-893D-DAB8-8AE4-26F94F7F8439}"/>
                </a:ext>
              </a:extLst>
            </p:cNvPr>
            <p:cNvSpPr txBox="1"/>
            <p:nvPr/>
          </p:nvSpPr>
          <p:spPr>
            <a:xfrm>
              <a:off x="1008928" y="4284681"/>
              <a:ext cx="49683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dirty="0"/>
                <a:t>Инициализация </a:t>
              </a:r>
              <a:r>
                <a:rPr lang="en" dirty="0"/>
                <a:t>Git</a:t>
              </a:r>
              <a:r>
                <a:rPr lang="ru-RU" dirty="0"/>
                <a:t>-репозитория</a:t>
              </a:r>
            </a:p>
          </p:txBody>
        </p:sp>
        <p:sp>
          <p:nvSpPr>
            <p:cNvPr id="10" name="Рисунок 15">
              <a:extLst>
                <a:ext uri="{FF2B5EF4-FFF2-40B4-BE49-F238E27FC236}">
                  <a16:creationId xmlns:a16="http://schemas.microsoft.com/office/drawing/2014/main" id="{568793B6-3F08-7166-D9CA-B32F67EC625A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58181AB5-39BC-50E0-D897-0191CDD87B4C}"/>
              </a:ext>
            </a:extLst>
          </p:cNvPr>
          <p:cNvGrpSpPr/>
          <p:nvPr/>
        </p:nvGrpSpPr>
        <p:grpSpPr>
          <a:xfrm>
            <a:off x="697651" y="2449811"/>
            <a:ext cx="5279577" cy="369332"/>
            <a:chOff x="697651" y="4284681"/>
            <a:chExt cx="5279577" cy="369332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F42DED9-12AD-405A-1E57-44E76E69D075}"/>
                </a:ext>
              </a:extLst>
            </p:cNvPr>
            <p:cNvSpPr txBox="1"/>
            <p:nvPr/>
          </p:nvSpPr>
          <p:spPr>
            <a:xfrm>
              <a:off x="1008928" y="4284681"/>
              <a:ext cx="49683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dirty="0"/>
                <a:t>Создание виртуального </a:t>
              </a:r>
              <a:r>
                <a:rPr lang="en" dirty="0"/>
                <a:t>Python</a:t>
              </a:r>
              <a:r>
                <a:rPr lang="ru-RU" dirty="0"/>
                <a:t>-окружения</a:t>
              </a:r>
            </a:p>
          </p:txBody>
        </p:sp>
        <p:sp>
          <p:nvSpPr>
            <p:cNvPr id="13" name="Рисунок 15">
              <a:extLst>
                <a:ext uri="{FF2B5EF4-FFF2-40B4-BE49-F238E27FC236}">
                  <a16:creationId xmlns:a16="http://schemas.microsoft.com/office/drawing/2014/main" id="{9866EC40-1302-FA86-EB9C-32881DC6ADD7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D9206952-6D00-D3CF-BE84-200F3C04395A}"/>
              </a:ext>
            </a:extLst>
          </p:cNvPr>
          <p:cNvGrpSpPr/>
          <p:nvPr/>
        </p:nvGrpSpPr>
        <p:grpSpPr>
          <a:xfrm>
            <a:off x="695226" y="3112064"/>
            <a:ext cx="5279577" cy="369332"/>
            <a:chOff x="697651" y="4284681"/>
            <a:chExt cx="5279577" cy="369332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8B892B0-EEE8-2FC3-8733-F28433BF7F83}"/>
                </a:ext>
              </a:extLst>
            </p:cNvPr>
            <p:cNvSpPr txBox="1"/>
            <p:nvPr/>
          </p:nvSpPr>
          <p:spPr>
            <a:xfrm>
              <a:off x="1008928" y="4284681"/>
              <a:ext cx="49683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dirty="0"/>
                <a:t>Установка внешних зависимостей</a:t>
              </a:r>
            </a:p>
          </p:txBody>
        </p:sp>
        <p:sp>
          <p:nvSpPr>
            <p:cNvPr id="16" name="Рисунок 15">
              <a:extLst>
                <a:ext uri="{FF2B5EF4-FFF2-40B4-BE49-F238E27FC236}">
                  <a16:creationId xmlns:a16="http://schemas.microsoft.com/office/drawing/2014/main" id="{88FF9B5F-8696-C08B-0634-BAED4CB38A74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BC29D535-C5B7-875D-BFA4-C44721809A17}"/>
              </a:ext>
            </a:extLst>
          </p:cNvPr>
          <p:cNvGrpSpPr/>
          <p:nvPr/>
        </p:nvGrpSpPr>
        <p:grpSpPr>
          <a:xfrm>
            <a:off x="695226" y="3777865"/>
            <a:ext cx="5279577" cy="369332"/>
            <a:chOff x="697651" y="4284681"/>
            <a:chExt cx="5279577" cy="369332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42D8FB1-8348-7820-0637-2A7369E30312}"/>
                </a:ext>
              </a:extLst>
            </p:cNvPr>
            <p:cNvSpPr txBox="1"/>
            <p:nvPr/>
          </p:nvSpPr>
          <p:spPr>
            <a:xfrm>
              <a:off x="1008928" y="4284681"/>
              <a:ext cx="49683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dirty="0"/>
                <a:t>Настройка </a:t>
              </a:r>
              <a:r>
                <a:rPr lang="en" dirty="0"/>
                <a:t>pre-commit</a:t>
              </a:r>
              <a:endParaRPr lang="ru-RU" dirty="0"/>
            </a:p>
          </p:txBody>
        </p:sp>
        <p:sp>
          <p:nvSpPr>
            <p:cNvPr id="19" name="Рисунок 15">
              <a:extLst>
                <a:ext uri="{FF2B5EF4-FFF2-40B4-BE49-F238E27FC236}">
                  <a16:creationId xmlns:a16="http://schemas.microsoft.com/office/drawing/2014/main" id="{C6C5D95A-6903-3524-A9D6-B757138A0561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2C4500FE-2731-2FCF-71F9-137610A57094}"/>
              </a:ext>
            </a:extLst>
          </p:cNvPr>
          <p:cNvGrpSpPr/>
          <p:nvPr/>
        </p:nvGrpSpPr>
        <p:grpSpPr>
          <a:xfrm>
            <a:off x="695226" y="4436570"/>
            <a:ext cx="5279577" cy="369332"/>
            <a:chOff x="697651" y="4284681"/>
            <a:chExt cx="5279577" cy="369332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99AC948-3D3D-E27B-2C59-E9429E10AEE9}"/>
                </a:ext>
              </a:extLst>
            </p:cNvPr>
            <p:cNvSpPr txBox="1"/>
            <p:nvPr/>
          </p:nvSpPr>
          <p:spPr>
            <a:xfrm>
              <a:off x="1008928" y="4284681"/>
              <a:ext cx="49683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dirty="0"/>
                <a:t>Создание </a:t>
              </a:r>
              <a:r>
                <a:rPr lang="en" dirty="0" err="1"/>
                <a:t>Makefile</a:t>
              </a:r>
              <a:endParaRPr lang="ru-RU" dirty="0"/>
            </a:p>
          </p:txBody>
        </p:sp>
        <p:sp>
          <p:nvSpPr>
            <p:cNvPr id="22" name="Рисунок 15">
              <a:extLst>
                <a:ext uri="{FF2B5EF4-FFF2-40B4-BE49-F238E27FC236}">
                  <a16:creationId xmlns:a16="http://schemas.microsoft.com/office/drawing/2014/main" id="{661E383C-FDBB-58C2-8F6E-6957BBF216C5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AA139F8A-7F53-7FE9-6C87-A427C07CBF3E}"/>
              </a:ext>
            </a:extLst>
          </p:cNvPr>
          <p:cNvGrpSpPr/>
          <p:nvPr/>
        </p:nvGrpSpPr>
        <p:grpSpPr>
          <a:xfrm>
            <a:off x="695226" y="5095275"/>
            <a:ext cx="5279577" cy="369332"/>
            <a:chOff x="697651" y="4284681"/>
            <a:chExt cx="5279577" cy="369332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1749FB2-61E9-9980-0A4C-8C6CC69636D9}"/>
                </a:ext>
              </a:extLst>
            </p:cNvPr>
            <p:cNvSpPr txBox="1"/>
            <p:nvPr/>
          </p:nvSpPr>
          <p:spPr>
            <a:xfrm>
              <a:off x="1008928" y="4284681"/>
              <a:ext cx="49683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dirty="0"/>
                <a:t>Подготовка переменных окружения</a:t>
              </a:r>
            </a:p>
          </p:txBody>
        </p:sp>
        <p:sp>
          <p:nvSpPr>
            <p:cNvPr id="25" name="Рисунок 15">
              <a:extLst>
                <a:ext uri="{FF2B5EF4-FFF2-40B4-BE49-F238E27FC236}">
                  <a16:creationId xmlns:a16="http://schemas.microsoft.com/office/drawing/2014/main" id="{348FEFA2-DBED-68FE-9173-3825AFA3027B}"/>
                </a:ext>
              </a:extLst>
            </p:cNvPr>
            <p:cNvSpPr/>
            <p:nvPr/>
          </p:nvSpPr>
          <p:spPr>
            <a:xfrm rot="5400000">
              <a:off x="697661" y="4359563"/>
              <a:ext cx="208102" cy="208122"/>
            </a:xfrm>
            <a:custGeom>
              <a:avLst/>
              <a:gdLst>
                <a:gd name="connsiteX0" fmla="*/ 104775 w 171450"/>
                <a:gd name="connsiteY0" fmla="*/ 171229 h 171467"/>
                <a:gd name="connsiteX1" fmla="*/ 171450 w 171450"/>
                <a:gd name="connsiteY1" fmla="*/ 85725 h 171467"/>
                <a:gd name="connsiteX2" fmla="*/ 85725 w 171450"/>
                <a:gd name="connsiteY2" fmla="*/ 0 h 171467"/>
                <a:gd name="connsiteX3" fmla="*/ 0 w 171450"/>
                <a:gd name="connsiteY3" fmla="*/ 85725 h 171467"/>
                <a:gd name="connsiteX4" fmla="*/ 66675 w 171450"/>
                <a:gd name="connsiteY4" fmla="*/ 171229 h 171467"/>
                <a:gd name="connsiteX5" fmla="*/ 71438 w 171450"/>
                <a:gd name="connsiteY5" fmla="*/ 171450 h 171467"/>
                <a:gd name="connsiteX6" fmla="*/ 76200 w 171450"/>
                <a:gd name="connsiteY6" fmla="*/ 161925 h 171467"/>
                <a:gd name="connsiteX7" fmla="*/ 76200 w 171450"/>
                <a:gd name="connsiteY7" fmla="*/ 76200 h 171467"/>
                <a:gd name="connsiteX8" fmla="*/ 53340 w 171450"/>
                <a:gd name="connsiteY8" fmla="*/ 93345 h 171467"/>
                <a:gd name="connsiteX9" fmla="*/ 40005 w 171450"/>
                <a:gd name="connsiteY9" fmla="*/ 91440 h 171467"/>
                <a:gd name="connsiteX10" fmla="*/ 41910 w 171450"/>
                <a:gd name="connsiteY10" fmla="*/ 78105 h 171467"/>
                <a:gd name="connsiteX11" fmla="*/ 80010 w 171450"/>
                <a:gd name="connsiteY11" fmla="*/ 49530 h 171467"/>
                <a:gd name="connsiteX12" fmla="*/ 91440 w 171450"/>
                <a:gd name="connsiteY12" fmla="*/ 49530 h 171467"/>
                <a:gd name="connsiteX13" fmla="*/ 129540 w 171450"/>
                <a:gd name="connsiteY13" fmla="*/ 78105 h 171467"/>
                <a:gd name="connsiteX14" fmla="*/ 131445 w 171450"/>
                <a:gd name="connsiteY14" fmla="*/ 91440 h 171467"/>
                <a:gd name="connsiteX15" fmla="*/ 118110 w 171450"/>
                <a:gd name="connsiteY15" fmla="*/ 93345 h 171467"/>
                <a:gd name="connsiteX16" fmla="*/ 95250 w 171450"/>
                <a:gd name="connsiteY16" fmla="*/ 76200 h 171467"/>
                <a:gd name="connsiteX17" fmla="*/ 95250 w 171450"/>
                <a:gd name="connsiteY17" fmla="*/ 161925 h 171467"/>
                <a:gd name="connsiteX18" fmla="*/ 100013 w 171450"/>
                <a:gd name="connsiteY18" fmla="*/ 171450 h 171467"/>
                <a:gd name="connsiteX19" fmla="*/ 104775 w 171450"/>
                <a:gd name="connsiteY19" fmla="*/ 171229 h 17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450" h="171467">
                  <a:moveTo>
                    <a:pt x="104775" y="171229"/>
                  </a:moveTo>
                  <a:cubicBezTo>
                    <a:pt x="146577" y="164243"/>
                    <a:pt x="171450" y="132230"/>
                    <a:pt x="171450" y="85725"/>
                  </a:cubicBezTo>
                  <a:cubicBezTo>
                    <a:pt x="171450" y="32536"/>
                    <a:pt x="138915" y="0"/>
                    <a:pt x="85725" y="0"/>
                  </a:cubicBezTo>
                  <a:cubicBezTo>
                    <a:pt x="32535" y="0"/>
                    <a:pt x="0" y="32535"/>
                    <a:pt x="0" y="85725"/>
                  </a:cubicBezTo>
                  <a:cubicBezTo>
                    <a:pt x="0" y="132230"/>
                    <a:pt x="24872" y="164243"/>
                    <a:pt x="66675" y="171229"/>
                  </a:cubicBezTo>
                  <a:cubicBezTo>
                    <a:pt x="68640" y="171557"/>
                    <a:pt x="71438" y="171450"/>
                    <a:pt x="71438" y="171450"/>
                  </a:cubicBezTo>
                  <a:cubicBezTo>
                    <a:pt x="76200" y="171450"/>
                    <a:pt x="76200" y="165705"/>
                    <a:pt x="76200" y="161925"/>
                  </a:cubicBezTo>
                  <a:lnTo>
                    <a:pt x="76200" y="76200"/>
                  </a:lnTo>
                  <a:lnTo>
                    <a:pt x="53340" y="93345"/>
                  </a:lnTo>
                  <a:cubicBezTo>
                    <a:pt x="49132" y="96501"/>
                    <a:pt x="43161" y="95649"/>
                    <a:pt x="40005" y="91440"/>
                  </a:cubicBezTo>
                  <a:cubicBezTo>
                    <a:pt x="36849" y="87231"/>
                    <a:pt x="37702" y="81261"/>
                    <a:pt x="41910" y="78105"/>
                  </a:cubicBezTo>
                  <a:lnTo>
                    <a:pt x="80010" y="49530"/>
                  </a:lnTo>
                  <a:cubicBezTo>
                    <a:pt x="83397" y="46990"/>
                    <a:pt x="88053" y="46990"/>
                    <a:pt x="91440" y="49530"/>
                  </a:cubicBezTo>
                  <a:lnTo>
                    <a:pt x="129540" y="78105"/>
                  </a:lnTo>
                  <a:cubicBezTo>
                    <a:pt x="133748" y="81261"/>
                    <a:pt x="134602" y="87231"/>
                    <a:pt x="131445" y="91440"/>
                  </a:cubicBezTo>
                  <a:cubicBezTo>
                    <a:pt x="128288" y="95649"/>
                    <a:pt x="122318" y="96501"/>
                    <a:pt x="118110" y="93345"/>
                  </a:cubicBezTo>
                  <a:lnTo>
                    <a:pt x="95250" y="76200"/>
                  </a:lnTo>
                  <a:cubicBezTo>
                    <a:pt x="95250" y="76200"/>
                    <a:pt x="95250" y="128447"/>
                    <a:pt x="95250" y="161925"/>
                  </a:cubicBezTo>
                  <a:cubicBezTo>
                    <a:pt x="95250" y="165705"/>
                    <a:pt x="95250" y="171450"/>
                    <a:pt x="100013" y="171450"/>
                  </a:cubicBezTo>
                  <a:cubicBezTo>
                    <a:pt x="100013" y="171450"/>
                    <a:pt x="102810" y="171557"/>
                    <a:pt x="104775" y="17122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E11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40AE6796-2EC6-4355-4DBE-23B5E9E57A8C}"/>
              </a:ext>
            </a:extLst>
          </p:cNvPr>
          <p:cNvGrpSpPr/>
          <p:nvPr/>
        </p:nvGrpSpPr>
        <p:grpSpPr>
          <a:xfrm>
            <a:off x="7675669" y="644985"/>
            <a:ext cx="3844711" cy="5568029"/>
            <a:chOff x="7705941" y="1280160"/>
            <a:chExt cx="3844711" cy="5568029"/>
          </a:xfrm>
        </p:grpSpPr>
        <p:sp>
          <p:nvSpPr>
            <p:cNvPr id="26" name="Скругленный прямоугольник 25">
              <a:extLst>
                <a:ext uri="{FF2B5EF4-FFF2-40B4-BE49-F238E27FC236}">
                  <a16:creationId xmlns:a16="http://schemas.microsoft.com/office/drawing/2014/main" id="{C56F06B2-894F-4019-62B9-A646BD8C299F}"/>
                </a:ext>
              </a:extLst>
            </p:cNvPr>
            <p:cNvSpPr/>
            <p:nvPr/>
          </p:nvSpPr>
          <p:spPr>
            <a:xfrm>
              <a:off x="7705941" y="1280160"/>
              <a:ext cx="3844711" cy="5568029"/>
            </a:xfrm>
            <a:prstGeom prst="roundRect">
              <a:avLst>
                <a:gd name="adj" fmla="val 8983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00" dirty="0" err="1"/>
            </a:p>
          </p:txBody>
        </p:sp>
        <p:pic>
          <p:nvPicPr>
            <p:cNvPr id="27" name="Рисунок 26">
              <a:extLst>
                <a:ext uri="{FF2B5EF4-FFF2-40B4-BE49-F238E27FC236}">
                  <a16:creationId xmlns:a16="http://schemas.microsoft.com/office/drawing/2014/main" id="{B9C9627F-70C4-A31C-1896-AF982103D3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61999" y="1553955"/>
              <a:ext cx="3732350" cy="50204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97395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000" t="-1000" r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38D58B0-8B29-A36D-809F-FEABC2046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7094" y="3884017"/>
            <a:ext cx="6337811" cy="1560179"/>
          </a:xfrm>
        </p:spPr>
        <p:txBody>
          <a:bodyPr/>
          <a:lstStyle/>
          <a:p>
            <a:pPr algn="ctr"/>
            <a:r>
              <a:rPr lang="ru-RU" sz="4400" dirty="0"/>
              <a:t>Написание приложения на </a:t>
            </a:r>
            <a:r>
              <a:rPr lang="en" sz="4400" dirty="0" err="1"/>
              <a:t>FastAPI</a:t>
            </a:r>
            <a:endParaRPr lang="ru-RU" sz="4400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348A51A-E289-174E-F7C3-86F730864E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249F5-0093-48B0-B996-C4E44A87EAFB}" type="slidenum">
              <a:rPr lang="ru-RU" smtClean="0"/>
              <a:pPr/>
              <a:t>9</a:t>
            </a:fld>
            <a:endParaRPr lang="ru-RU"/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30C8C5F5-61EB-F1AD-4B76-03AE104DA3DC}"/>
              </a:ext>
            </a:extLst>
          </p:cNvPr>
          <p:cNvGrpSpPr/>
          <p:nvPr/>
        </p:nvGrpSpPr>
        <p:grpSpPr>
          <a:xfrm rot="21209267">
            <a:off x="4485247" y="2129477"/>
            <a:ext cx="3221501" cy="922870"/>
            <a:chOff x="4487594" y="942535"/>
            <a:chExt cx="5303520" cy="1519311"/>
          </a:xfrm>
        </p:grpSpPr>
        <p:sp>
          <p:nvSpPr>
            <p:cNvPr id="8" name="Скругленный прямоугольник 7">
              <a:extLst>
                <a:ext uri="{FF2B5EF4-FFF2-40B4-BE49-F238E27FC236}">
                  <a16:creationId xmlns:a16="http://schemas.microsoft.com/office/drawing/2014/main" id="{C3A36FB3-40D8-BCAF-55F2-A0B3E554AE45}"/>
                </a:ext>
              </a:extLst>
            </p:cNvPr>
            <p:cNvSpPr/>
            <p:nvPr/>
          </p:nvSpPr>
          <p:spPr>
            <a:xfrm>
              <a:off x="4487594" y="942535"/>
              <a:ext cx="5303520" cy="151931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400" dirty="0" err="1"/>
            </a:p>
          </p:txBody>
        </p:sp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1996BD2F-5129-D069-AAB7-35818F2E48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7548" y="1305956"/>
              <a:ext cx="4283612" cy="7924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04017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zon_official_v1">
  <a:themeElements>
    <a:clrScheme name="Colors_Ozon Tech">
      <a:dk1>
        <a:srgbClr val="0E1114"/>
      </a:dk1>
      <a:lt1>
        <a:srgbClr val="FFFFFF"/>
      </a:lt1>
      <a:dk2>
        <a:srgbClr val="022B44"/>
      </a:dk2>
      <a:lt2>
        <a:srgbClr val="FFFFFF"/>
      </a:lt2>
      <a:accent1>
        <a:srgbClr val="005AFF"/>
      </a:accent1>
      <a:accent2>
        <a:srgbClr val="3ADE68"/>
      </a:accent2>
      <a:accent3>
        <a:srgbClr val="124C6D"/>
      </a:accent3>
      <a:accent4>
        <a:srgbClr val="5895FF"/>
      </a:accent4>
      <a:accent5>
        <a:srgbClr val="CBDEFF"/>
      </a:accent5>
      <a:accent6>
        <a:srgbClr val="96A3AE"/>
      </a:accent6>
      <a:hlink>
        <a:srgbClr val="005BFF"/>
      </a:hlink>
      <a:folHlink>
        <a:srgbClr val="3D5165"/>
      </a:folHlink>
    </a:clrScheme>
    <a:fontScheme name="Ozon_Tec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Aft>
            <a:spcPts val="600"/>
          </a:spcAft>
          <a:defRPr sz="1400" dirty="0" err="1" smtClean="0"/>
        </a:defPPr>
      </a:lstStyle>
    </a:txDef>
  </a:objectDefaults>
  <a:extraClrSchemeLst/>
  <a:custClrLst>
    <a:custClr name="ozPositive">
      <a:srgbClr val="10C44C"/>
    </a:custClr>
    <a:custClr name="ozPositive_1">
      <a:srgbClr val="B7EDC9"/>
    </a:custClr>
    <a:custClr name="ozWarning">
      <a:srgbClr val="FFA800"/>
    </a:custClr>
    <a:custClr name="ozWarning_1">
      <a:srgbClr val="FFE5B2"/>
    </a:custClr>
    <a:custClr name="ozNegative">
      <a:srgbClr val="F53C14"/>
    </a:custClr>
    <a:custClr name="ozNegative_1">
      <a:srgbClr val="FCC4B8"/>
    </a:custClr>
    <a:custClr name="ozTertiary">
      <a:srgbClr val="090089"/>
    </a:custClr>
  </a:custClrLst>
  <a:extLst>
    <a:ext uri="{05A4C25C-085E-4340-85A3-A5531E510DB2}">
      <thm15:themeFamily xmlns:thm15="http://schemas.microsoft.com/office/thememl/2012/main" name="Ozon_official_v1" id="{3F26DB61-5175-45AF-B953-8423E7FAAB55}" vid="{CD7E0679-66B5-42D5-9E99-9321BBCAC15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15C7F7D2B501647919CFCCA94B55CF9" ma:contentTypeVersion="2" ma:contentTypeDescription="Создание документа." ma:contentTypeScope="" ma:versionID="a51346c19b7e7bce24b4d2be26e74dd4">
  <xsd:schema xmlns:xsd="http://www.w3.org/2001/XMLSchema" xmlns:xs="http://www.w3.org/2001/XMLSchema" xmlns:p="http://schemas.microsoft.com/office/2006/metadata/properties" xmlns:ns2="7d2d9768-b777-4564-b2e7-7de1a2113910" targetNamespace="http://schemas.microsoft.com/office/2006/metadata/properties" ma:root="true" ma:fieldsID="ea9a9454168fa7ca85afd3832a57f79f" ns2:_="">
    <xsd:import namespace="7d2d9768-b777-4564-b2e7-7de1a211391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2d9768-b777-4564-b2e7-7de1a211391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97CED29-FEBB-4EAD-B4F4-E096DBC21A2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A7D394E0-63DB-464B-A7E1-5826F9C43B7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DB958EE-38A5-41A2-ACF5-932DE91F91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d2d9768-b777-4564-b2e7-7de1a211391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zon_official_v1</Template>
  <TotalTime>12396</TotalTime>
  <Words>574</Words>
  <Application>Microsoft Office PowerPoint</Application>
  <PresentationFormat>Widescreen</PresentationFormat>
  <Paragraphs>156</Paragraphs>
  <Slides>3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37" baseType="lpstr">
      <vt:lpstr>Arial</vt:lpstr>
      <vt:lpstr>Ozon_official_v1</vt:lpstr>
      <vt:lpstr>Слайд think-cell</vt:lpstr>
      <vt:lpstr>Apache Airflow</vt:lpstr>
      <vt:lpstr>PowerPoint Presentation</vt:lpstr>
      <vt:lpstr>PowerPoint Presentation</vt:lpstr>
      <vt:lpstr>PowerPoint Presentation</vt:lpstr>
      <vt:lpstr>Что такое Airflow</vt:lpstr>
      <vt:lpstr>Что такое DAG</vt:lpstr>
      <vt:lpstr>Архитектура Airflow</vt:lpstr>
      <vt:lpstr>Подготовка окружения</vt:lpstr>
      <vt:lpstr>Написание приложения на FastAPI</vt:lpstr>
      <vt:lpstr>fakerApi. Dockerfile</vt:lpstr>
      <vt:lpstr>fakerApi. Models</vt:lpstr>
      <vt:lpstr>fakerApi. Handlers</vt:lpstr>
      <vt:lpstr>fakerApi. Main</vt:lpstr>
      <vt:lpstr>Поднимем Postgres, Clickhouse, Minio и fakerApi</vt:lpstr>
      <vt:lpstr>Postgres</vt:lpstr>
      <vt:lpstr>Clickhouse</vt:lpstr>
      <vt:lpstr>Minio</vt:lpstr>
      <vt:lpstr>fakerApi</vt:lpstr>
      <vt:lpstr>Базовые концепции</vt:lpstr>
      <vt:lpstr>DAG</vt:lpstr>
      <vt:lpstr>Cron</vt:lpstr>
      <vt:lpstr>DummyOperator</vt:lpstr>
      <vt:lpstr>BashOperator</vt:lpstr>
      <vt:lpstr>PythonOperator</vt:lpstr>
      <vt:lpstr>SqlOperator</vt:lpstr>
      <vt:lpstr>ExternalTaskOperator</vt:lpstr>
      <vt:lpstr>executionOrder</vt:lpstr>
      <vt:lpstr>LiveCoding. Airflow</vt:lpstr>
      <vt:lpstr>LiveCoding. Airflow. Basic DAG</vt:lpstr>
      <vt:lpstr>LiveCoding. Airflow. Advanced DAG</vt:lpstr>
      <vt:lpstr>MapReduce</vt:lpstr>
      <vt:lpstr>Заключение</vt:lpstr>
      <vt:lpstr>Data Analyst Intern</vt:lpstr>
      <vt:lpstr>Спасибо за внимание!</vt:lpstr>
    </vt:vector>
  </TitlesOfParts>
  <Company>OZ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strovlyanchik Pavel Viktorovich</dc:creator>
  <cp:lastModifiedBy>Антон Шишков</cp:lastModifiedBy>
  <cp:revision>359</cp:revision>
  <cp:lastPrinted>2024-02-06T10:57:54Z</cp:lastPrinted>
  <dcterms:created xsi:type="dcterms:W3CDTF">2022-12-14T11:41:06Z</dcterms:created>
  <dcterms:modified xsi:type="dcterms:W3CDTF">2025-03-04T13:14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5C7F7D2B501647919CFCCA94B55CF9</vt:lpwstr>
  </property>
</Properties>
</file>